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355" r:id="rId4"/>
  </p:sldMasterIdLst>
  <p:notesMasterIdLst>
    <p:notesMasterId r:id="rId14"/>
  </p:notesMasterIdLst>
  <p:handoutMasterIdLst>
    <p:handoutMasterId r:id="rId15"/>
  </p:handoutMasterIdLst>
  <p:sldIdLst>
    <p:sldId id="299" r:id="rId5"/>
    <p:sldId id="283" r:id="rId6"/>
    <p:sldId id="310" r:id="rId7"/>
    <p:sldId id="303" r:id="rId8"/>
    <p:sldId id="311" r:id="rId9"/>
    <p:sldId id="304" r:id="rId10"/>
    <p:sldId id="312" r:id="rId11"/>
    <p:sldId id="307" r:id="rId12"/>
    <p:sldId id="290" r:id="rId13"/>
  </p:sldIdLst>
  <p:sldSz cx="12190413" cy="6858000"/>
  <p:notesSz cx="6888163" cy="100203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93">
          <p15:clr>
            <a:srgbClr val="A4A3A4"/>
          </p15:clr>
        </p15:guide>
        <p15:guide id="3" pos="619">
          <p15:clr>
            <a:srgbClr val="A4A3A4"/>
          </p15:clr>
        </p15:guide>
        <p15:guide id="15" orient="horz" pos="2478">
          <p15:clr>
            <a:srgbClr val="A4A3A4"/>
          </p15:clr>
        </p15:guide>
        <p15:guide id="16" orient="horz" pos="2704">
          <p15:clr>
            <a:srgbClr val="A4A3A4"/>
          </p15:clr>
        </p15:guide>
        <p15:guide id="17" orient="horz" pos="4086">
          <p15:clr>
            <a:srgbClr val="A4A3A4"/>
          </p15:clr>
        </p15:guide>
        <p15:guide id="18" orient="horz" pos="2592">
          <p15:clr>
            <a:srgbClr val="A4A3A4"/>
          </p15:clr>
        </p15:guide>
        <p15:guide id="19" pos="7422">
          <p15:clr>
            <a:srgbClr val="A4A3A4"/>
          </p15:clr>
        </p15:guide>
        <p15:guide id="20" pos="2149">
          <p15:clr>
            <a:srgbClr val="A4A3A4"/>
          </p15:clr>
        </p15:guide>
        <p15:guide id="21" pos="3908">
          <p15:clr>
            <a:srgbClr val="A4A3A4"/>
          </p15:clr>
        </p15:guide>
        <p15:guide id="22" pos="2376">
          <p15:clr>
            <a:srgbClr val="A4A3A4"/>
          </p15:clr>
        </p15:guide>
        <p15:guide id="23" pos="5666">
          <p15:clr>
            <a:srgbClr val="A4A3A4"/>
          </p15:clr>
        </p15:guide>
        <p15:guide id="24" pos="5894">
          <p15:clr>
            <a:srgbClr val="A4A3A4"/>
          </p15:clr>
        </p15:guide>
        <p15:guide id="25" pos="4134">
          <p15:clr>
            <a:srgbClr val="A4A3A4"/>
          </p15:clr>
        </p15:guide>
        <p15:guide id="26" pos="40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857">
          <p15:clr>
            <a:srgbClr val="A4A3A4"/>
          </p15:clr>
        </p15:guide>
        <p15:guide id="4" pos="196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chmid, Annette" initials="SA" lastIdx="2" clrIdx="0">
    <p:extLst>
      <p:ext uri="{19B8F6BF-5375-455C-9EA6-DF929625EA0E}">
        <p15:presenceInfo xmlns:p15="http://schemas.microsoft.com/office/powerpoint/2012/main" userId="S::Annette.Schmid@takeda.com::28ab1953-55e5-4348-9230-253d5b8483f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162"/>
    <a:srgbClr val="74C713"/>
    <a:srgbClr val="00A5E2"/>
    <a:srgbClr val="E61A5D"/>
    <a:srgbClr val="624963"/>
    <a:srgbClr val="D30F4B"/>
    <a:srgbClr val="0091DF"/>
    <a:srgbClr val="00617F"/>
    <a:srgbClr val="2B6640"/>
    <a:srgbClr val="66B51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C58C614-ABB3-4431-AACD-8D95C9C385E1}" v="50" dt="2020-07-31T12:55:46.14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5455" autoAdjust="0"/>
  </p:normalViewPr>
  <p:slideViewPr>
    <p:cSldViewPr snapToGrid="0" snapToObjects="1" showGuides="1">
      <p:cViewPr varScale="1">
        <p:scale>
          <a:sx n="158" d="100"/>
          <a:sy n="158" d="100"/>
        </p:scale>
        <p:origin x="348" y="114"/>
      </p:cViewPr>
      <p:guideLst>
        <p:guide orient="horz" pos="1093"/>
        <p:guide pos="619"/>
        <p:guide orient="horz" pos="2478"/>
        <p:guide orient="horz" pos="2704"/>
        <p:guide orient="horz" pos="4086"/>
        <p:guide orient="horz" pos="2592"/>
        <p:guide pos="7422"/>
        <p:guide pos="2149"/>
        <p:guide pos="3908"/>
        <p:guide pos="2376"/>
        <p:guide pos="5666"/>
        <p:guide pos="5894"/>
        <p:guide pos="4134"/>
        <p:guide pos="40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5" d="100"/>
          <a:sy n="75" d="100"/>
        </p:scale>
        <p:origin x="-4050" y="-114"/>
      </p:cViewPr>
      <p:guideLst>
        <p:guide orient="horz" pos="2880"/>
        <p:guide pos="2160"/>
        <p:guide orient="horz" pos="2857"/>
        <p:guide pos="196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abien Ricard" userId="9770a292-b623-4125-803e-fa91eff23c96" providerId="ADAL" clId="{EC58C614-ABB3-4431-AACD-8D95C9C385E1}"/>
    <pc:docChg chg="custSel modSld">
      <pc:chgData name="Fabien Ricard" userId="9770a292-b623-4125-803e-fa91eff23c96" providerId="ADAL" clId="{EC58C614-ABB3-4431-AACD-8D95C9C385E1}" dt="2020-07-31T12:55:46.143" v="92"/>
      <pc:docMkLst>
        <pc:docMk/>
      </pc:docMkLst>
      <pc:sldChg chg="addSp modSp modAnim">
        <pc:chgData name="Fabien Ricard" userId="9770a292-b623-4125-803e-fa91eff23c96" providerId="ADAL" clId="{EC58C614-ABB3-4431-AACD-8D95C9C385E1}" dt="2020-07-31T12:36:17.059" v="61"/>
        <pc:sldMkLst>
          <pc:docMk/>
          <pc:sldMk cId="3657560124" sldId="304"/>
        </pc:sldMkLst>
        <pc:spChg chg="mod">
          <ac:chgData name="Fabien Ricard" userId="9770a292-b623-4125-803e-fa91eff23c96" providerId="ADAL" clId="{EC58C614-ABB3-4431-AACD-8D95C9C385E1}" dt="2020-07-30T19:37:41.780" v="35" actId="207"/>
          <ac:spMkLst>
            <pc:docMk/>
            <pc:sldMk cId="3657560124" sldId="304"/>
            <ac:spMk id="2" creationId="{00000000-0000-0000-0000-000000000000}"/>
          </ac:spMkLst>
        </pc:spChg>
        <pc:spChg chg="mod">
          <ac:chgData name="Fabien Ricard" userId="9770a292-b623-4125-803e-fa91eff23c96" providerId="ADAL" clId="{EC58C614-ABB3-4431-AACD-8D95C9C385E1}" dt="2020-07-30T19:36:18.380" v="29" actId="113"/>
          <ac:spMkLst>
            <pc:docMk/>
            <pc:sldMk cId="3657560124" sldId="304"/>
            <ac:spMk id="3" creationId="{00000000-0000-0000-0000-000000000000}"/>
          </ac:spMkLst>
        </pc:spChg>
        <pc:spChg chg="mod">
          <ac:chgData name="Fabien Ricard" userId="9770a292-b623-4125-803e-fa91eff23c96" providerId="ADAL" clId="{EC58C614-ABB3-4431-AACD-8D95C9C385E1}" dt="2020-07-30T19:37:47.939" v="36" actId="208"/>
          <ac:spMkLst>
            <pc:docMk/>
            <pc:sldMk cId="3657560124" sldId="304"/>
            <ac:spMk id="7" creationId="{14BB249B-0FAE-4B66-A968-0EB169F0EEFC}"/>
          </ac:spMkLst>
        </pc:spChg>
        <pc:spChg chg="mod">
          <ac:chgData name="Fabien Ricard" userId="9770a292-b623-4125-803e-fa91eff23c96" providerId="ADAL" clId="{EC58C614-ABB3-4431-AACD-8D95C9C385E1}" dt="2020-07-30T19:37:55.760" v="38" actId="208"/>
          <ac:spMkLst>
            <pc:docMk/>
            <pc:sldMk cId="3657560124" sldId="304"/>
            <ac:spMk id="10" creationId="{47585DAD-2340-4BA0-B53A-409B4F715760}"/>
          </ac:spMkLst>
        </pc:spChg>
        <pc:spChg chg="mod">
          <ac:chgData name="Fabien Ricard" userId="9770a292-b623-4125-803e-fa91eff23c96" providerId="ADAL" clId="{EC58C614-ABB3-4431-AACD-8D95C9C385E1}" dt="2020-07-30T19:37:50.700" v="37" actId="208"/>
          <ac:spMkLst>
            <pc:docMk/>
            <pc:sldMk cId="3657560124" sldId="304"/>
            <ac:spMk id="11" creationId="{5619D92C-258F-4837-B011-787962DFC77E}"/>
          </ac:spMkLst>
        </pc:spChg>
        <pc:picChg chg="add mod">
          <ac:chgData name="Fabien Ricard" userId="9770a292-b623-4125-803e-fa91eff23c96" providerId="ADAL" clId="{EC58C614-ABB3-4431-AACD-8D95C9C385E1}" dt="2020-07-31T12:35:48.481" v="60" actId="1037"/>
          <ac:picMkLst>
            <pc:docMk/>
            <pc:sldMk cId="3657560124" sldId="304"/>
            <ac:picMk id="4" creationId="{18171BA4-FCAE-4BE7-B27E-E3FDEF4D6D0F}"/>
          </ac:picMkLst>
        </pc:picChg>
        <pc:picChg chg="mod">
          <ac:chgData name="Fabien Ricard" userId="9770a292-b623-4125-803e-fa91eff23c96" providerId="ADAL" clId="{EC58C614-ABB3-4431-AACD-8D95C9C385E1}" dt="2020-07-30T19:39:53.951" v="51" actId="1076"/>
          <ac:picMkLst>
            <pc:docMk/>
            <pc:sldMk cId="3657560124" sldId="304"/>
            <ac:picMk id="8" creationId="{7DB8631C-075C-4DE2-95DE-C0996387A573}"/>
          </ac:picMkLst>
        </pc:picChg>
      </pc:sldChg>
      <pc:sldChg chg="modAnim">
        <pc:chgData name="Fabien Ricard" userId="9770a292-b623-4125-803e-fa91eff23c96" providerId="ADAL" clId="{EC58C614-ABB3-4431-AACD-8D95C9C385E1}" dt="2020-07-31T12:55:46.143" v="92"/>
        <pc:sldMkLst>
          <pc:docMk/>
          <pc:sldMk cId="2690325844" sldId="307"/>
        </pc:sldMkLst>
      </pc:sldChg>
      <pc:sldChg chg="addSp modSp modAnim">
        <pc:chgData name="Fabien Ricard" userId="9770a292-b623-4125-803e-fa91eff23c96" providerId="ADAL" clId="{EC58C614-ABB3-4431-AACD-8D95C9C385E1}" dt="2020-07-31T12:53:58.174" v="75"/>
        <pc:sldMkLst>
          <pc:docMk/>
          <pc:sldMk cId="1864607620" sldId="310"/>
        </pc:sldMkLst>
        <pc:spChg chg="mod">
          <ac:chgData name="Fabien Ricard" userId="9770a292-b623-4125-803e-fa91eff23c96" providerId="ADAL" clId="{EC58C614-ABB3-4431-AACD-8D95C9C385E1}" dt="2020-07-31T12:53:34.507" v="72" actId="164"/>
          <ac:spMkLst>
            <pc:docMk/>
            <pc:sldMk cId="1864607620" sldId="310"/>
            <ac:spMk id="16" creationId="{BB83F869-6422-4BE4-B3D2-8DD05702A4AE}"/>
          </ac:spMkLst>
        </pc:spChg>
        <pc:spChg chg="mod">
          <ac:chgData name="Fabien Ricard" userId="9770a292-b623-4125-803e-fa91eff23c96" providerId="ADAL" clId="{EC58C614-ABB3-4431-AACD-8D95C9C385E1}" dt="2020-07-31T12:53:34.507" v="72" actId="164"/>
          <ac:spMkLst>
            <pc:docMk/>
            <pc:sldMk cId="1864607620" sldId="310"/>
            <ac:spMk id="17" creationId="{E6C32282-0EED-4BE4-AF44-C1A5AD5EEB45}"/>
          </ac:spMkLst>
        </pc:spChg>
        <pc:spChg chg="mod">
          <ac:chgData name="Fabien Ricard" userId="9770a292-b623-4125-803e-fa91eff23c96" providerId="ADAL" clId="{EC58C614-ABB3-4431-AACD-8D95C9C385E1}" dt="2020-07-31T12:53:34.507" v="72" actId="164"/>
          <ac:spMkLst>
            <pc:docMk/>
            <pc:sldMk cId="1864607620" sldId="310"/>
            <ac:spMk id="18" creationId="{24E08E36-75ED-48C8-A5DB-DADE2A02FC03}"/>
          </ac:spMkLst>
        </pc:spChg>
        <pc:spChg chg="mod">
          <ac:chgData name="Fabien Ricard" userId="9770a292-b623-4125-803e-fa91eff23c96" providerId="ADAL" clId="{EC58C614-ABB3-4431-AACD-8D95C9C385E1}" dt="2020-07-31T12:53:34.507" v="72" actId="164"/>
          <ac:spMkLst>
            <pc:docMk/>
            <pc:sldMk cId="1864607620" sldId="310"/>
            <ac:spMk id="19" creationId="{B5D870C9-8A7A-4861-99FE-403E7E7A08A0}"/>
          </ac:spMkLst>
        </pc:spChg>
        <pc:spChg chg="mod">
          <ac:chgData name="Fabien Ricard" userId="9770a292-b623-4125-803e-fa91eff23c96" providerId="ADAL" clId="{EC58C614-ABB3-4431-AACD-8D95C9C385E1}" dt="2020-07-31T12:53:34.507" v="72" actId="164"/>
          <ac:spMkLst>
            <pc:docMk/>
            <pc:sldMk cId="1864607620" sldId="310"/>
            <ac:spMk id="20" creationId="{322F1A5F-FFA4-47CE-8302-5E3969233EBB}"/>
          </ac:spMkLst>
        </pc:spChg>
        <pc:spChg chg="mod">
          <ac:chgData name="Fabien Ricard" userId="9770a292-b623-4125-803e-fa91eff23c96" providerId="ADAL" clId="{EC58C614-ABB3-4431-AACD-8D95C9C385E1}" dt="2020-07-31T12:53:34.507" v="72" actId="164"/>
          <ac:spMkLst>
            <pc:docMk/>
            <pc:sldMk cId="1864607620" sldId="310"/>
            <ac:spMk id="21" creationId="{67209AD4-F1B5-4A91-89DA-D2A1F10F9A63}"/>
          </ac:spMkLst>
        </pc:spChg>
        <pc:spChg chg="mod">
          <ac:chgData name="Fabien Ricard" userId="9770a292-b623-4125-803e-fa91eff23c96" providerId="ADAL" clId="{EC58C614-ABB3-4431-AACD-8D95C9C385E1}" dt="2020-07-31T12:53:34.507" v="72" actId="164"/>
          <ac:spMkLst>
            <pc:docMk/>
            <pc:sldMk cId="1864607620" sldId="310"/>
            <ac:spMk id="28" creationId="{98F9FCBD-6215-4AE4-9FC1-087B1C764EDE}"/>
          </ac:spMkLst>
        </pc:spChg>
        <pc:spChg chg="mod">
          <ac:chgData name="Fabien Ricard" userId="9770a292-b623-4125-803e-fa91eff23c96" providerId="ADAL" clId="{EC58C614-ABB3-4431-AACD-8D95C9C385E1}" dt="2020-07-31T12:53:34.507" v="72" actId="164"/>
          <ac:spMkLst>
            <pc:docMk/>
            <pc:sldMk cId="1864607620" sldId="310"/>
            <ac:spMk id="29" creationId="{F5D2781C-0F47-41C2-A358-1F2B691B9879}"/>
          </ac:spMkLst>
        </pc:spChg>
        <pc:spChg chg="mod">
          <ac:chgData name="Fabien Ricard" userId="9770a292-b623-4125-803e-fa91eff23c96" providerId="ADAL" clId="{EC58C614-ABB3-4431-AACD-8D95C9C385E1}" dt="2020-07-31T12:53:34.507" v="72" actId="164"/>
          <ac:spMkLst>
            <pc:docMk/>
            <pc:sldMk cId="1864607620" sldId="310"/>
            <ac:spMk id="30" creationId="{2913E466-FE91-4EB2-8C27-9E644EEFB561}"/>
          </ac:spMkLst>
        </pc:spChg>
        <pc:spChg chg="mod">
          <ac:chgData name="Fabien Ricard" userId="9770a292-b623-4125-803e-fa91eff23c96" providerId="ADAL" clId="{EC58C614-ABB3-4431-AACD-8D95C9C385E1}" dt="2020-07-31T12:53:34.507" v="72" actId="164"/>
          <ac:spMkLst>
            <pc:docMk/>
            <pc:sldMk cId="1864607620" sldId="310"/>
            <ac:spMk id="31" creationId="{930D2891-3DE3-4EA4-AFB7-B3B46665C86A}"/>
          </ac:spMkLst>
        </pc:spChg>
        <pc:spChg chg="mod">
          <ac:chgData name="Fabien Ricard" userId="9770a292-b623-4125-803e-fa91eff23c96" providerId="ADAL" clId="{EC58C614-ABB3-4431-AACD-8D95C9C385E1}" dt="2020-07-31T12:53:34.507" v="72" actId="164"/>
          <ac:spMkLst>
            <pc:docMk/>
            <pc:sldMk cId="1864607620" sldId="310"/>
            <ac:spMk id="32" creationId="{C428F959-199F-49EE-937A-7A1DE32FDE4E}"/>
          </ac:spMkLst>
        </pc:spChg>
        <pc:spChg chg="mod">
          <ac:chgData name="Fabien Ricard" userId="9770a292-b623-4125-803e-fa91eff23c96" providerId="ADAL" clId="{EC58C614-ABB3-4431-AACD-8D95C9C385E1}" dt="2020-07-31T12:53:34.507" v="72" actId="164"/>
          <ac:spMkLst>
            <pc:docMk/>
            <pc:sldMk cId="1864607620" sldId="310"/>
            <ac:spMk id="33" creationId="{8208C93C-4F1B-45E2-A4C1-0A94C45A947E}"/>
          </ac:spMkLst>
        </pc:spChg>
        <pc:spChg chg="mod">
          <ac:chgData name="Fabien Ricard" userId="9770a292-b623-4125-803e-fa91eff23c96" providerId="ADAL" clId="{EC58C614-ABB3-4431-AACD-8D95C9C385E1}" dt="2020-07-31T12:53:34.507" v="72" actId="164"/>
          <ac:spMkLst>
            <pc:docMk/>
            <pc:sldMk cId="1864607620" sldId="310"/>
            <ac:spMk id="34" creationId="{43D4B0F7-54D4-4736-BFC6-5FD377E38C5C}"/>
          </ac:spMkLst>
        </pc:spChg>
        <pc:spChg chg="mod">
          <ac:chgData name="Fabien Ricard" userId="9770a292-b623-4125-803e-fa91eff23c96" providerId="ADAL" clId="{EC58C614-ABB3-4431-AACD-8D95C9C385E1}" dt="2020-07-31T12:53:34.507" v="72" actId="164"/>
          <ac:spMkLst>
            <pc:docMk/>
            <pc:sldMk cId="1864607620" sldId="310"/>
            <ac:spMk id="35" creationId="{1DBBFC50-7EF1-4B96-AFB9-F384521B5648}"/>
          </ac:spMkLst>
        </pc:spChg>
        <pc:spChg chg="mod">
          <ac:chgData name="Fabien Ricard" userId="9770a292-b623-4125-803e-fa91eff23c96" providerId="ADAL" clId="{EC58C614-ABB3-4431-AACD-8D95C9C385E1}" dt="2020-07-31T12:53:34.507" v="72" actId="164"/>
          <ac:spMkLst>
            <pc:docMk/>
            <pc:sldMk cId="1864607620" sldId="310"/>
            <ac:spMk id="36" creationId="{0973DD3B-1342-4BF9-A024-74ACC439BFD7}"/>
          </ac:spMkLst>
        </pc:spChg>
        <pc:spChg chg="mod">
          <ac:chgData name="Fabien Ricard" userId="9770a292-b623-4125-803e-fa91eff23c96" providerId="ADAL" clId="{EC58C614-ABB3-4431-AACD-8D95C9C385E1}" dt="2020-07-31T12:53:34.507" v="72" actId="164"/>
          <ac:spMkLst>
            <pc:docMk/>
            <pc:sldMk cId="1864607620" sldId="310"/>
            <ac:spMk id="37" creationId="{6AB26E75-50F7-4F97-99D4-B694566F8367}"/>
          </ac:spMkLst>
        </pc:spChg>
        <pc:spChg chg="mod">
          <ac:chgData name="Fabien Ricard" userId="9770a292-b623-4125-803e-fa91eff23c96" providerId="ADAL" clId="{EC58C614-ABB3-4431-AACD-8D95C9C385E1}" dt="2020-07-31T12:53:34.507" v="72" actId="164"/>
          <ac:spMkLst>
            <pc:docMk/>
            <pc:sldMk cId="1864607620" sldId="310"/>
            <ac:spMk id="38" creationId="{8C190CDD-0B9F-4578-9A64-2977D0397180}"/>
          </ac:spMkLst>
        </pc:spChg>
        <pc:spChg chg="mod">
          <ac:chgData name="Fabien Ricard" userId="9770a292-b623-4125-803e-fa91eff23c96" providerId="ADAL" clId="{EC58C614-ABB3-4431-AACD-8D95C9C385E1}" dt="2020-07-31T12:53:34.507" v="72" actId="164"/>
          <ac:spMkLst>
            <pc:docMk/>
            <pc:sldMk cId="1864607620" sldId="310"/>
            <ac:spMk id="39" creationId="{654C7F32-4212-4F2E-8F29-4CF524D30321}"/>
          </ac:spMkLst>
        </pc:spChg>
        <pc:spChg chg="mod">
          <ac:chgData name="Fabien Ricard" userId="9770a292-b623-4125-803e-fa91eff23c96" providerId="ADAL" clId="{EC58C614-ABB3-4431-AACD-8D95C9C385E1}" dt="2020-07-31T12:53:34.507" v="72" actId="164"/>
          <ac:spMkLst>
            <pc:docMk/>
            <pc:sldMk cId="1864607620" sldId="310"/>
            <ac:spMk id="40" creationId="{D1AC69A1-37D0-4048-BD74-C49249D95301}"/>
          </ac:spMkLst>
        </pc:spChg>
        <pc:spChg chg="mod">
          <ac:chgData name="Fabien Ricard" userId="9770a292-b623-4125-803e-fa91eff23c96" providerId="ADAL" clId="{EC58C614-ABB3-4431-AACD-8D95C9C385E1}" dt="2020-07-31T12:53:34.507" v="72" actId="164"/>
          <ac:spMkLst>
            <pc:docMk/>
            <pc:sldMk cId="1864607620" sldId="310"/>
            <ac:spMk id="41" creationId="{39D74925-87E9-4E35-8DAF-282E48DF01DC}"/>
          </ac:spMkLst>
        </pc:spChg>
        <pc:grpChg chg="add mod">
          <ac:chgData name="Fabien Ricard" userId="9770a292-b623-4125-803e-fa91eff23c96" providerId="ADAL" clId="{EC58C614-ABB3-4431-AACD-8D95C9C385E1}" dt="2020-07-31T12:53:34.507" v="72" actId="164"/>
          <ac:grpSpMkLst>
            <pc:docMk/>
            <pc:sldMk cId="1864607620" sldId="310"/>
            <ac:grpSpMk id="3" creationId="{94CDED1E-4B68-4F97-962A-63338909FEC6}"/>
          </ac:grpSpMkLst>
        </pc:grpChg>
      </pc:sldChg>
      <pc:sldChg chg="addSp modSp modAnim">
        <pc:chgData name="Fabien Ricard" userId="9770a292-b623-4125-803e-fa91eff23c96" providerId="ADAL" clId="{EC58C614-ABB3-4431-AACD-8D95C9C385E1}" dt="2020-07-31T12:52:15.279" v="71"/>
        <pc:sldMkLst>
          <pc:docMk/>
          <pc:sldMk cId="1621318952" sldId="311"/>
        </pc:sldMkLst>
        <pc:grpChg chg="add mod">
          <ac:chgData name="Fabien Ricard" userId="9770a292-b623-4125-803e-fa91eff23c96" providerId="ADAL" clId="{EC58C614-ABB3-4431-AACD-8D95C9C385E1}" dt="2020-07-31T12:51:20.417" v="62" actId="164"/>
          <ac:grpSpMkLst>
            <pc:docMk/>
            <pc:sldMk cId="1621318952" sldId="311"/>
            <ac:grpSpMk id="4" creationId="{2D76EBFC-FA2B-435F-B202-ACBFD7BC58BA}"/>
          </ac:grpSpMkLst>
        </pc:grpChg>
        <pc:picChg chg="mod">
          <ac:chgData name="Fabien Ricard" userId="9770a292-b623-4125-803e-fa91eff23c96" providerId="ADAL" clId="{EC58C614-ABB3-4431-AACD-8D95C9C385E1}" dt="2020-07-31T12:51:20.417" v="62" actId="164"/>
          <ac:picMkLst>
            <pc:docMk/>
            <pc:sldMk cId="1621318952" sldId="311"/>
            <ac:picMk id="6" creationId="{67548DAA-6F40-4E27-8ECC-F33B7139F059}"/>
          </ac:picMkLst>
        </pc:picChg>
        <pc:picChg chg="mod">
          <ac:chgData name="Fabien Ricard" userId="9770a292-b623-4125-803e-fa91eff23c96" providerId="ADAL" clId="{EC58C614-ABB3-4431-AACD-8D95C9C385E1}" dt="2020-07-31T12:51:20.417" v="62" actId="164"/>
          <ac:picMkLst>
            <pc:docMk/>
            <pc:sldMk cId="1621318952" sldId="311"/>
            <ac:picMk id="3074" creationId="{50A23A27-F7D4-4691-AE60-17FD40A980DD}"/>
          </ac:picMkLst>
        </pc:picChg>
        <pc:picChg chg="mod">
          <ac:chgData name="Fabien Ricard" userId="9770a292-b623-4125-803e-fa91eff23c96" providerId="ADAL" clId="{EC58C614-ABB3-4431-AACD-8D95C9C385E1}" dt="2020-07-31T12:51:20.417" v="62" actId="164"/>
          <ac:picMkLst>
            <pc:docMk/>
            <pc:sldMk cId="1621318952" sldId="311"/>
            <ac:picMk id="3076" creationId="{696D2A32-39FD-41CF-B55E-26590AE00FD0}"/>
          </ac:picMkLst>
        </pc:picChg>
        <pc:picChg chg="mod">
          <ac:chgData name="Fabien Ricard" userId="9770a292-b623-4125-803e-fa91eff23c96" providerId="ADAL" clId="{EC58C614-ABB3-4431-AACD-8D95C9C385E1}" dt="2020-07-31T12:51:20.417" v="62" actId="164"/>
          <ac:picMkLst>
            <pc:docMk/>
            <pc:sldMk cId="1621318952" sldId="311"/>
            <ac:picMk id="3078" creationId="{4E306FA6-B884-42EA-8FAF-4CA36F947739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82216" y="176715"/>
            <a:ext cx="5983605" cy="17856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216864" y="9671310"/>
            <a:ext cx="492259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7/31/2020</a:t>
            </a:fld>
            <a:endParaRPr lang="en-US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494926" y="9671310"/>
            <a:ext cx="5567925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175703" y="9671310"/>
            <a:ext cx="190528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41769" y="192454"/>
            <a:ext cx="364262" cy="364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05931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emf"/><Relationship Id="rId1" Type="http://schemas.openxmlformats.org/officeDocument/2006/relationships/theme" Target="../theme/theme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53988" y="617538"/>
            <a:ext cx="3292475" cy="1852612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87598" tIns="43799" rIns="87598" bIns="4379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192788" y="2938490"/>
            <a:ext cx="6506513" cy="646503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99933" y="183269"/>
            <a:ext cx="5900408" cy="185193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157508" y="9658526"/>
            <a:ext cx="540250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7/31/2020</a:t>
            </a:fld>
            <a:endParaRPr lang="en-US" dirty="0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4"/>
          </p:nvPr>
        </p:nvSpPr>
        <p:spPr bwMode="gray">
          <a:xfrm>
            <a:off x="547782" y="9658526"/>
            <a:ext cx="5465661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192834" y="9658526"/>
            <a:ext cx="208896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98071" y="2056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774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8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buFontTx/>
      <a:buBlip>
        <a:blip r:embed="rId3"/>
      </a:buBlip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buFontTx/>
      <a:buBlip>
        <a:blip r:embed="rId4"/>
      </a:buBlip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buFontTx/>
      <a:buBlip>
        <a:blip r:embed="rId5"/>
      </a:buBlip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94621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1699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4671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93689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949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6892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82950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01640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05456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453184E-21E7-418F-A1EC-A49E8D1E2D3B}" type="datetime1">
              <a:rPr lang="en-US" smtClean="0"/>
              <a:t>7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36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13F43FA-A88D-45CF-A998-B7633C7E9A49}" type="datetime1">
              <a:rPr lang="en-US" smtClean="0"/>
              <a:t>7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820" y="3892749"/>
            <a:ext cx="5220000" cy="259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49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820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39903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DB8775-8226-4E8C-BBBC-5A871E3E17A7}" type="datetime1">
              <a:rPr lang="en-US" smtClean="0"/>
              <a:t>7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28923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2" y="1052513"/>
            <a:ext cx="10800000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096B027-38B9-43F7-A592-83EA0A775820}" type="datetime1">
              <a:rPr lang="en-US" smtClean="0"/>
              <a:t>7/31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9706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4F30451-A35E-4E06-ABE9-57892F294C45}" type="datetime1">
              <a:rPr lang="en-US" smtClean="0"/>
              <a:t>7/31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2190413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59345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3BDA798-F8E0-4709-A972-C462B33FAF2F}" type="datetime1">
              <a:rPr lang="en-US" smtClean="0"/>
              <a:t>7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043114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1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8FB917D-8BDA-4646-85F0-B3EB7EC9AA4C}" type="datetime1">
              <a:rPr lang="en-US" smtClean="0"/>
              <a:t>7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562772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0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3C03279-9369-4B60-857C-CA23090BD5EE}" type="datetime1">
              <a:rPr lang="en-US" smtClean="0"/>
              <a:t>7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871054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ED9FCB3-9B29-42A8-A735-DBF9B3C4108B}" type="datetime1">
              <a:rPr lang="en-US" smtClean="0"/>
              <a:t>7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1" y="0"/>
            <a:ext cx="811495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610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CB09DE6-6C5C-466A-98EE-CF45D40F0870}" type="datetime1">
              <a:rPr lang="en-US" smtClean="0"/>
              <a:t>7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10360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99CCC57-2F27-4712-AC15-A35FC57882C5}" type="datetime1">
              <a:rPr lang="en-US" smtClean="0"/>
              <a:t>7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6771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4680000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EB53ADF-5111-40B8-BD25-E86AF4ED5048}" type="datetime1">
              <a:rPr lang="en-US" smtClean="0"/>
              <a:t>7/31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2" y="6617933"/>
            <a:ext cx="5710665" cy="108000"/>
          </a:xfrm>
        </p:spPr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832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4236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733913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575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ACA9DDE-6CF4-4C99-A2B7-6AB362D7B47D}" type="datetime1">
              <a:rPr lang="en-US" smtClean="0"/>
              <a:t>7/31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7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49" y="1473902"/>
            <a:ext cx="4140000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4135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39926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333"/>
            <a:ext cx="450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C4C773C-56E9-4938-AEBD-712BC038121E}" type="datetime1">
              <a:rPr lang="en-US" smtClean="0"/>
              <a:t>7/31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0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78404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58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309FE29-4079-4042-82D4-30F65321BBEB}" type="datetime1">
              <a:rPr lang="en-US" smtClean="0"/>
              <a:t>7/31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08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269252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6166E1B-5D18-476A-8C5F-E90A4ECE4845}" type="datetime1">
              <a:rPr lang="en-US" smtClean="0"/>
              <a:t>7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820" y="1732751"/>
            <a:ext cx="10798461" cy="475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03183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EDDFC53-89AB-4BE8-8EEE-3EC422BCF930}" type="datetime1">
              <a:rPr lang="en-US" smtClean="0"/>
              <a:t>7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820" y="1732750"/>
            <a:ext cx="5220000" cy="475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59603" y="1732750"/>
            <a:ext cx="5220000" cy="475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9849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67D9247B-7051-4DBD-8540-3BFDAC611952}" type="datetime1">
              <a:rPr lang="en-US" smtClean="0"/>
              <a:t>7/3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empower - DO NOT DELETE!!!" hidden="1"/>
          <p:cNvSpPr/>
          <p:nvPr userDrawn="1">
            <p:custDataLst>
              <p:tags r:id="rId19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8" name="MSIPCMContentMarking" descr="{&quot;HashCode&quot;:-242339457,&quot;Placement&quot;:&quot;Footer&quot;}">
            <a:extLst>
              <a:ext uri="{FF2B5EF4-FFF2-40B4-BE49-F238E27FC236}">
                <a16:creationId xmlns:a16="http://schemas.microsoft.com/office/drawing/2014/main" id="{CCC17322-AC7B-4A4D-921F-4400EADD40EF}"/>
              </a:ext>
            </a:extLst>
          </p:cNvPr>
          <p:cNvSpPr txBox="1"/>
          <p:nvPr userDrawn="1"/>
        </p:nvSpPr>
        <p:spPr bwMode="gray">
          <a:xfrm>
            <a:off x="10317297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200" b="0" i="0" u="none" baseline="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en-US" sz="2200" b="0" i="0" u="none" baseline="0" dirty="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456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6" r:id="rId1"/>
    <p:sldLayoutId id="2147484357" r:id="rId2"/>
    <p:sldLayoutId id="2147484358" r:id="rId3"/>
    <p:sldLayoutId id="2147484359" r:id="rId4"/>
    <p:sldLayoutId id="2147484360" r:id="rId5"/>
    <p:sldLayoutId id="2147484361" r:id="rId6"/>
    <p:sldLayoutId id="2147484362" r:id="rId7"/>
    <p:sldLayoutId id="2147484363" r:id="rId8"/>
    <p:sldLayoutId id="2147484364" r:id="rId9"/>
    <p:sldLayoutId id="2147484365" r:id="rId10"/>
    <p:sldLayoutId id="2147484366" r:id="rId11"/>
    <p:sldLayoutId id="2147484367" r:id="rId12"/>
    <p:sldLayoutId id="2147484368" r:id="rId13"/>
    <p:sldLayoutId id="2147484369" r:id="rId14"/>
    <p:sldLayoutId id="2147484370" r:id="rId15"/>
    <p:sldLayoutId id="2147484371" r:id="rId16"/>
    <p:sldLayoutId id="2147484375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0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1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0.jpg"/><Relationship Id="rId4" Type="http://schemas.openxmlformats.org/officeDocument/2006/relationships/image" Target="../media/image9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.gif"/><Relationship Id="rId5" Type="http://schemas.openxmlformats.org/officeDocument/2006/relationships/image" Target="../media/image16.jpeg"/><Relationship Id="rId4" Type="http://schemas.openxmlformats.org/officeDocument/2006/relationships/image" Target="../media/image15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INTAD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andover Meeting</a:t>
            </a:r>
          </a:p>
          <a:p>
            <a:pPr lvl="1"/>
            <a:r>
              <a:rPr lang="en-US" dirty="0"/>
              <a:t>31JUL2020 – F Ricard – v1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15" name="Parallelogram 32"/>
          <p:cNvSpPr/>
          <p:nvPr/>
        </p:nvSpPr>
        <p:spPr bwMode="gray">
          <a:xfrm>
            <a:off x="4086231" y="-724"/>
            <a:ext cx="4032000" cy="6858724"/>
          </a:xfrm>
          <a:prstGeom prst="parallelogram">
            <a:avLst>
              <a:gd name="adj" fmla="val 32935"/>
            </a:avLst>
          </a:prstGeom>
          <a:blipFill>
            <a:blip r:embed="rId3"/>
            <a:srcRect/>
            <a:stretch>
              <a:fillRect l="-6703" r="-670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Parallelogram 37"/>
          <p:cNvSpPr/>
          <p:nvPr/>
        </p:nvSpPr>
        <p:spPr bwMode="gray">
          <a:xfrm>
            <a:off x="6787822" y="-724"/>
            <a:ext cx="4032000" cy="6858724"/>
          </a:xfrm>
          <a:custGeom>
            <a:avLst/>
            <a:gdLst/>
            <a:ahLst/>
            <a:cxnLst/>
            <a:rect l="l" t="t" r="r" b="b"/>
            <a:pathLst>
              <a:path w="4032000" h="6858724">
                <a:moveTo>
                  <a:pt x="1327939" y="0"/>
                </a:moveTo>
                <a:lnTo>
                  <a:pt x="4032000" y="0"/>
                </a:lnTo>
                <a:lnTo>
                  <a:pt x="2780422" y="6464325"/>
                </a:lnTo>
                <a:lnTo>
                  <a:pt x="517853" y="6858724"/>
                </a:lnTo>
                <a:lnTo>
                  <a:pt x="0" y="6858724"/>
                </a:lnTo>
                <a:close/>
              </a:path>
            </a:pathLst>
          </a:custGeom>
          <a:blipFill>
            <a:blip r:embed="rId4"/>
            <a:srcRect/>
            <a:stretch>
              <a:fillRect l="-105929" r="-4923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Parallelogram 38"/>
          <p:cNvSpPr/>
          <p:nvPr/>
        </p:nvSpPr>
        <p:spPr bwMode="gray">
          <a:xfrm>
            <a:off x="9565690" y="0"/>
            <a:ext cx="2627107" cy="6464770"/>
          </a:xfrm>
          <a:custGeom>
            <a:avLst/>
            <a:gdLst/>
            <a:ahLst/>
            <a:cxnLst/>
            <a:rect l="l" t="t" r="r" b="b"/>
            <a:pathLst>
              <a:path w="2627107" h="6464770">
                <a:moveTo>
                  <a:pt x="1251664" y="0"/>
                </a:moveTo>
                <a:lnTo>
                  <a:pt x="2627107" y="0"/>
                </a:lnTo>
                <a:lnTo>
                  <a:pt x="2627107" y="6007241"/>
                </a:lnTo>
                <a:lnTo>
                  <a:pt x="2624724" y="6007241"/>
                </a:lnTo>
                <a:lnTo>
                  <a:pt x="2624723" y="6007241"/>
                </a:lnTo>
                <a:lnTo>
                  <a:pt x="0" y="6464770"/>
                </a:lnTo>
                <a:close/>
              </a:path>
            </a:pathLst>
          </a:custGeom>
          <a:blipFill>
            <a:blip r:embed="rId5"/>
            <a:srcRect/>
            <a:stretch>
              <a:fillRect l="-22293" r="-2229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7" name="Straight Connector 6"/>
          <p:cNvCxnSpPr/>
          <p:nvPr/>
        </p:nvCxnSpPr>
        <p:spPr bwMode="gray">
          <a:xfrm flipH="1">
            <a:off x="6787822" y="-724"/>
            <a:ext cx="1330409" cy="6858724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 flipH="1">
            <a:off x="4086231" y="-724"/>
            <a:ext cx="1330409" cy="6858724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 flipH="1">
            <a:off x="9566722" y="-724"/>
            <a:ext cx="1253994" cy="646477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4808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1821" y="181938"/>
            <a:ext cx="10798460" cy="468302"/>
          </a:xfrm>
        </p:spPr>
        <p:txBody>
          <a:bodyPr/>
          <a:lstStyle/>
          <a:p>
            <a:r>
              <a:rPr lang="en-US" b="1" dirty="0"/>
              <a:t>New PINTAD management Team</a:t>
            </a: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</p:nvPr>
        </p:nvSpPr>
        <p:spPr>
          <a:xfrm>
            <a:off x="974672" y="6607773"/>
            <a:ext cx="8640000" cy="108000"/>
          </a:xfrm>
        </p:spPr>
        <p:txBody>
          <a:bodyPr/>
          <a:lstStyle/>
          <a:p>
            <a:r>
              <a:rPr lang="en-US" dirty="0"/>
              <a:t>/// Bayer 16:9 Template /// September 2018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>
          <a:xfrm>
            <a:off x="195843" y="649601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t>2</a:t>
            </a:fld>
            <a:endParaRPr lang="en-US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84DA81F-7E6A-4877-B685-02B9AD37D48E}"/>
              </a:ext>
            </a:extLst>
          </p:cNvPr>
          <p:cNvSpPr/>
          <p:nvPr/>
        </p:nvSpPr>
        <p:spPr bwMode="gray">
          <a:xfrm>
            <a:off x="755511" y="4112124"/>
            <a:ext cx="2489200" cy="1798320"/>
          </a:xfrm>
          <a:prstGeom prst="ellipse">
            <a:avLst/>
          </a:prstGeom>
          <a:ln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Steering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</a:rPr>
              <a:t>Committee</a:t>
            </a:r>
            <a:endParaRPr lang="en-US" sz="180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9F0AF20-6204-4322-84D6-E201093B1FBC}"/>
              </a:ext>
            </a:extLst>
          </p:cNvPr>
          <p:cNvSpPr/>
          <p:nvPr/>
        </p:nvSpPr>
        <p:spPr bwMode="gray">
          <a:xfrm>
            <a:off x="3636862" y="1167408"/>
            <a:ext cx="4089102" cy="865110"/>
          </a:xfrm>
          <a:prstGeom prst="roundRect">
            <a:avLst/>
          </a:prstGeom>
          <a:solidFill>
            <a:srgbClr val="FF3162"/>
          </a:solidFill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1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Fabien Ricard MD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600" b="1" dirty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1" i="0" u="none" baseline="0" dirty="0">
                <a:solidFill>
                  <a:srgbClr val="FFFFFF"/>
                </a:solidFill>
              </a:rPr>
              <a:t>Director, global Clinical Development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Bayer Pharmaceuticals</a:t>
            </a:r>
            <a:endParaRPr lang="en-US" sz="1400" b="1" i="0" u="none" baseline="0" dirty="0">
              <a:solidFill>
                <a:srgbClr val="FFFFFF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EB98892-BFA7-437E-B89E-69CD45E76A84}"/>
              </a:ext>
            </a:extLst>
          </p:cNvPr>
          <p:cNvSpPr/>
          <p:nvPr/>
        </p:nvSpPr>
        <p:spPr bwMode="gray">
          <a:xfrm>
            <a:off x="7905469" y="1171989"/>
            <a:ext cx="4098952" cy="865110"/>
          </a:xfrm>
          <a:prstGeom prst="roundRect">
            <a:avLst/>
          </a:prstGeom>
          <a:solidFill>
            <a:srgbClr val="FF3162"/>
          </a:solidFill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1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Brenda Kurland PhD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600" b="1" dirty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1" i="0" u="none" baseline="0" dirty="0">
                <a:solidFill>
                  <a:srgbClr val="FFFFFF"/>
                </a:solidFill>
              </a:rPr>
              <a:t>Senior Principal Statistician, Imaging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ERT</a:t>
            </a:r>
            <a:endParaRPr lang="en-US" sz="1200" b="1" i="0" u="none" baseline="0" dirty="0">
              <a:solidFill>
                <a:srgbClr val="FFFFFF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8C249909-D28C-4B59-855B-F7E2A39BFD66}"/>
              </a:ext>
            </a:extLst>
          </p:cNvPr>
          <p:cNvSpPr/>
          <p:nvPr/>
        </p:nvSpPr>
        <p:spPr bwMode="gray">
          <a:xfrm>
            <a:off x="1534152" y="1218963"/>
            <a:ext cx="931917" cy="762000"/>
          </a:xfrm>
          <a:prstGeom prst="roundRect">
            <a:avLst/>
          </a:prstGeom>
          <a:solidFill>
            <a:srgbClr val="FF3162"/>
          </a:solidFill>
          <a:ln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LT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0338F1E-80A7-4237-99F9-A07C38781695}"/>
              </a:ext>
            </a:extLst>
          </p:cNvPr>
          <p:cNvSpPr/>
          <p:nvPr/>
        </p:nvSpPr>
        <p:spPr bwMode="gray">
          <a:xfrm>
            <a:off x="491351" y="2385271"/>
            <a:ext cx="3017520" cy="762000"/>
          </a:xfrm>
          <a:prstGeom prst="roundRect">
            <a:avLst/>
          </a:prstGeom>
          <a:ln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</a:rPr>
              <a:t>Communication Manager</a:t>
            </a: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BB83F869-6422-4BE4-B3D2-8DD05702A4AE}"/>
              </a:ext>
            </a:extLst>
          </p:cNvPr>
          <p:cNvSpPr/>
          <p:nvPr/>
        </p:nvSpPr>
        <p:spPr bwMode="gray">
          <a:xfrm>
            <a:off x="6381051" y="2328523"/>
            <a:ext cx="3017520" cy="875496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</a:rPr>
              <a:t>Julie Gillis MPH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600" b="1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1" i="0" u="none" baseline="0" dirty="0">
                <a:solidFill>
                  <a:srgbClr val="FFFFFF"/>
                </a:solidFill>
              </a:rPr>
              <a:t>Lead Consultant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1" dirty="0" err="1">
                <a:solidFill>
                  <a:srgbClr val="FFFFFF"/>
                </a:solidFill>
              </a:rPr>
              <a:t>Merigold</a:t>
            </a:r>
            <a:endParaRPr lang="en-US" sz="1200" b="1" i="0" u="none" baseline="0" dirty="0">
              <a:solidFill>
                <a:srgbClr val="FFFFFF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7335EBEC-2C9E-4A92-8BE7-080703255F1D}"/>
              </a:ext>
            </a:extLst>
          </p:cNvPr>
          <p:cNvSpPr/>
          <p:nvPr/>
        </p:nvSpPr>
        <p:spPr bwMode="gray">
          <a:xfrm>
            <a:off x="3667343" y="5613949"/>
            <a:ext cx="4089102" cy="865111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Annette Schmid PhD</a:t>
            </a:r>
          </a:p>
          <a:p>
            <a:pPr algn="ctr"/>
            <a:endParaRPr lang="en-US" sz="600" b="1" dirty="0"/>
          </a:p>
          <a:p>
            <a:pPr algn="ctr"/>
            <a:r>
              <a:rPr lang="en-US" sz="1200" b="1" dirty="0"/>
              <a:t>Sr Director, Global Science Policy</a:t>
            </a:r>
          </a:p>
          <a:p>
            <a:pPr algn="ctr"/>
            <a:r>
              <a:rPr lang="en-US" sz="1200" b="1" dirty="0"/>
              <a:t>Takeda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252D2AC6-A190-4FDD-90BC-6595FC1BD5E6}"/>
              </a:ext>
            </a:extLst>
          </p:cNvPr>
          <p:cNvSpPr/>
          <p:nvPr/>
        </p:nvSpPr>
        <p:spPr bwMode="gray">
          <a:xfrm>
            <a:off x="3667344" y="3540989"/>
            <a:ext cx="4089101" cy="867631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Melissa Burkett CNMT</a:t>
            </a:r>
          </a:p>
          <a:p>
            <a:pPr algn="ctr"/>
            <a:endParaRPr lang="en-US" sz="600" b="1" dirty="0"/>
          </a:p>
          <a:p>
            <a:pPr algn="ctr"/>
            <a:r>
              <a:rPr lang="en-US" sz="1200" b="1" dirty="0"/>
              <a:t>Global PET Applications Leader</a:t>
            </a:r>
          </a:p>
          <a:p>
            <a:pPr algn="ctr"/>
            <a:r>
              <a:rPr lang="en-US" sz="1200" b="1" dirty="0"/>
              <a:t>GE Healthcare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84ED8D56-8A9E-40D8-8373-FB09FD02DC0B}"/>
              </a:ext>
            </a:extLst>
          </p:cNvPr>
          <p:cNvSpPr/>
          <p:nvPr/>
        </p:nvSpPr>
        <p:spPr bwMode="gray">
          <a:xfrm>
            <a:off x="7905464" y="3538330"/>
            <a:ext cx="4089103" cy="867631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Gregory Goldmacher MD</a:t>
            </a:r>
          </a:p>
          <a:p>
            <a:pPr algn="ctr"/>
            <a:endParaRPr lang="en-US" sz="600" b="1" dirty="0"/>
          </a:p>
          <a:p>
            <a:pPr algn="ctr"/>
            <a:r>
              <a:rPr lang="en-US" sz="1200" b="1" dirty="0"/>
              <a:t>Exec. Director, Head of Clinical Imaging</a:t>
            </a:r>
          </a:p>
          <a:p>
            <a:pPr algn="ctr"/>
            <a:r>
              <a:rPr lang="en-US" sz="1200" b="1" dirty="0"/>
              <a:t>Merck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A053853-6FA4-4AC3-B12A-96BE42CBF990}"/>
              </a:ext>
            </a:extLst>
          </p:cNvPr>
          <p:cNvSpPr/>
          <p:nvPr/>
        </p:nvSpPr>
        <p:spPr bwMode="gray">
          <a:xfrm>
            <a:off x="7889811" y="4573292"/>
            <a:ext cx="4089100" cy="884763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Colin Miller PhD</a:t>
            </a:r>
          </a:p>
          <a:p>
            <a:pPr algn="ctr"/>
            <a:endParaRPr lang="en-US" sz="600" b="1" dirty="0"/>
          </a:p>
          <a:p>
            <a:pPr algn="ctr"/>
            <a:r>
              <a:rPr lang="en-US" sz="1200" b="1" dirty="0"/>
              <a:t>Managing Partner</a:t>
            </a:r>
          </a:p>
          <a:p>
            <a:pPr algn="ctr"/>
            <a:r>
              <a:rPr lang="en-US" sz="1200" b="1" dirty="0"/>
              <a:t>The Bracken Group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FD715CC4-74E6-4C6B-B53C-2633EB3BFB86}"/>
              </a:ext>
            </a:extLst>
          </p:cNvPr>
          <p:cNvSpPr/>
          <p:nvPr/>
        </p:nvSpPr>
        <p:spPr bwMode="gray">
          <a:xfrm>
            <a:off x="3667344" y="4578729"/>
            <a:ext cx="4058622" cy="865111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Can Akgun PhD</a:t>
            </a:r>
          </a:p>
          <a:p>
            <a:pPr algn="ctr"/>
            <a:r>
              <a:rPr lang="en-US" sz="600" b="1" dirty="0"/>
              <a:t> </a:t>
            </a:r>
            <a:endParaRPr lang="en-US" sz="1600" b="1" dirty="0"/>
          </a:p>
          <a:p>
            <a:pPr algn="ctr"/>
            <a:r>
              <a:rPr lang="en-US" sz="1200" b="1" dirty="0"/>
              <a:t>VP, Business Development</a:t>
            </a:r>
          </a:p>
          <a:p>
            <a:pPr algn="ctr"/>
            <a:r>
              <a:rPr lang="en-US" sz="1200" b="1" dirty="0"/>
              <a:t>Flywheel.io 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4FAE13A0-85A4-4F5D-A2C8-6EB5E4D60502}"/>
              </a:ext>
            </a:extLst>
          </p:cNvPr>
          <p:cNvSpPr/>
          <p:nvPr/>
        </p:nvSpPr>
        <p:spPr bwMode="gray">
          <a:xfrm>
            <a:off x="7905468" y="5613948"/>
            <a:ext cx="4089099" cy="865111"/>
          </a:xfrm>
          <a:prstGeom prst="roundRect">
            <a:avLst/>
          </a:prstGeom>
          <a:ln>
            <a:prstDash val="sysDot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xxx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909844367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9F0AF20-6204-4322-84D6-E201093B1FBC}"/>
              </a:ext>
            </a:extLst>
          </p:cNvPr>
          <p:cNvSpPr/>
          <p:nvPr/>
        </p:nvSpPr>
        <p:spPr bwMode="gray">
          <a:xfrm>
            <a:off x="1919822" y="846284"/>
            <a:ext cx="4089102" cy="1127279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1" i="0" u="none" baseline="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</a:rPr>
              <a:t>Fabien Ricard MD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800" b="1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1" i="0" u="none" baseline="0" dirty="0">
                <a:solidFill>
                  <a:schemeClr val="bg1">
                    <a:lumMod val="75000"/>
                  </a:schemeClr>
                </a:solidFill>
              </a:rPr>
              <a:t>Director, global Clinical Development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chemeClr val="bg1">
                    <a:lumMod val="75000"/>
                  </a:schemeClr>
                </a:solidFill>
              </a:rPr>
              <a:t>Bayer Pharmaceuticals</a:t>
            </a:r>
            <a:endParaRPr lang="en-US" sz="1600" b="1" i="0" u="none" baseline="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EB98892-BFA7-437E-B89E-69CD45E76A84}"/>
              </a:ext>
            </a:extLst>
          </p:cNvPr>
          <p:cNvSpPr/>
          <p:nvPr/>
        </p:nvSpPr>
        <p:spPr bwMode="gray">
          <a:xfrm>
            <a:off x="6188429" y="846441"/>
            <a:ext cx="4098952" cy="1127122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1" i="0" u="none" baseline="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</a:rPr>
              <a:t>Brenda Kurland PhD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800" b="1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1" i="0" u="none" baseline="0" dirty="0">
                <a:solidFill>
                  <a:schemeClr val="bg1">
                    <a:lumMod val="75000"/>
                  </a:schemeClr>
                </a:solidFill>
              </a:rPr>
              <a:t>Senior Principal Statistician, Imaging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chemeClr val="bg1">
                    <a:lumMod val="75000"/>
                  </a:schemeClr>
                </a:solidFill>
              </a:rPr>
              <a:t>ERT</a:t>
            </a:r>
            <a:endParaRPr lang="en-US" sz="1600" b="1" i="0" u="none" baseline="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7335EBEC-2C9E-4A92-8BE7-080703255F1D}"/>
              </a:ext>
            </a:extLst>
          </p:cNvPr>
          <p:cNvSpPr/>
          <p:nvPr/>
        </p:nvSpPr>
        <p:spPr bwMode="gray">
          <a:xfrm>
            <a:off x="1886145" y="5488622"/>
            <a:ext cx="4089102" cy="1046188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Annette Schmid PhD</a:t>
            </a:r>
          </a:p>
          <a:p>
            <a:pPr algn="ctr"/>
            <a:endParaRPr lang="en-US" sz="800" b="1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en-US" sz="1600" b="1" dirty="0">
                <a:solidFill>
                  <a:schemeClr val="bg1">
                    <a:lumMod val="75000"/>
                  </a:schemeClr>
                </a:solidFill>
              </a:rPr>
              <a:t>Sr Director, global science policy</a:t>
            </a:r>
          </a:p>
          <a:p>
            <a:pPr algn="ctr"/>
            <a:r>
              <a:rPr lang="en-US" sz="1600" b="1" dirty="0">
                <a:solidFill>
                  <a:schemeClr val="bg1">
                    <a:lumMod val="75000"/>
                  </a:schemeClr>
                </a:solidFill>
              </a:rPr>
              <a:t>Takeda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252D2AC6-A190-4FDD-90BC-6595FC1BD5E6}"/>
              </a:ext>
            </a:extLst>
          </p:cNvPr>
          <p:cNvSpPr/>
          <p:nvPr/>
        </p:nvSpPr>
        <p:spPr bwMode="gray">
          <a:xfrm>
            <a:off x="1886145" y="3128754"/>
            <a:ext cx="4089101" cy="1046190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Melissa Burkett CNMT</a:t>
            </a:r>
          </a:p>
          <a:p>
            <a:pPr algn="ctr"/>
            <a:endParaRPr lang="en-US" sz="800" b="1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en-US" sz="1600" b="1" dirty="0">
                <a:solidFill>
                  <a:schemeClr val="bg1">
                    <a:lumMod val="75000"/>
                  </a:schemeClr>
                </a:solidFill>
              </a:rPr>
              <a:t>Global PET applications Leader</a:t>
            </a:r>
          </a:p>
          <a:p>
            <a:pPr algn="ctr"/>
            <a:r>
              <a:rPr lang="en-US" sz="1600" b="1" dirty="0">
                <a:solidFill>
                  <a:schemeClr val="bg1">
                    <a:lumMod val="75000"/>
                  </a:schemeClr>
                </a:solidFill>
              </a:rPr>
              <a:t>GE Healthcare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84ED8D56-8A9E-40D8-8373-FB09FD02DC0B}"/>
              </a:ext>
            </a:extLst>
          </p:cNvPr>
          <p:cNvSpPr/>
          <p:nvPr/>
        </p:nvSpPr>
        <p:spPr bwMode="gray">
          <a:xfrm>
            <a:off x="6198986" y="3143825"/>
            <a:ext cx="4089103" cy="1062245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Gregory Goldmacher MD</a:t>
            </a:r>
          </a:p>
          <a:p>
            <a:pPr algn="ctr"/>
            <a:endParaRPr lang="en-US" sz="800" b="1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en-US" sz="1600" b="1" dirty="0">
                <a:solidFill>
                  <a:schemeClr val="bg1">
                    <a:lumMod val="75000"/>
                  </a:schemeClr>
                </a:solidFill>
              </a:rPr>
              <a:t>Exec. Director, head of clinical Imaging</a:t>
            </a:r>
          </a:p>
          <a:p>
            <a:pPr algn="ctr"/>
            <a:r>
              <a:rPr lang="en-US" sz="1600" b="1" dirty="0">
                <a:solidFill>
                  <a:schemeClr val="bg1">
                    <a:lumMod val="75000"/>
                  </a:schemeClr>
                </a:solidFill>
              </a:rPr>
              <a:t>Merck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A053853-6FA4-4AC3-B12A-96BE42CBF990}"/>
              </a:ext>
            </a:extLst>
          </p:cNvPr>
          <p:cNvSpPr/>
          <p:nvPr/>
        </p:nvSpPr>
        <p:spPr bwMode="gray">
          <a:xfrm>
            <a:off x="6188428" y="4343018"/>
            <a:ext cx="4089100" cy="1046189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Colin Miller PhD</a:t>
            </a:r>
          </a:p>
          <a:p>
            <a:pPr algn="ctr"/>
            <a:endParaRPr lang="en-US" sz="800" b="1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en-US" sz="1600" b="1" dirty="0">
                <a:solidFill>
                  <a:schemeClr val="bg1">
                    <a:lumMod val="75000"/>
                  </a:schemeClr>
                </a:solidFill>
              </a:rPr>
              <a:t>Managing Partner</a:t>
            </a:r>
          </a:p>
          <a:p>
            <a:pPr algn="ctr"/>
            <a:r>
              <a:rPr lang="en-US" sz="1600" b="1" dirty="0">
                <a:solidFill>
                  <a:schemeClr val="bg1">
                    <a:lumMod val="75000"/>
                  </a:schemeClr>
                </a:solidFill>
              </a:rPr>
              <a:t>The Bracken Group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FD715CC4-74E6-4C6B-B53C-2633EB3BFB86}"/>
              </a:ext>
            </a:extLst>
          </p:cNvPr>
          <p:cNvSpPr/>
          <p:nvPr/>
        </p:nvSpPr>
        <p:spPr bwMode="gray">
          <a:xfrm>
            <a:off x="1901384" y="4319391"/>
            <a:ext cx="4058622" cy="1062245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Can Akgun PhD</a:t>
            </a:r>
          </a:p>
          <a:p>
            <a:pPr algn="ctr"/>
            <a:r>
              <a:rPr lang="en-US" sz="800" b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endParaRPr lang="en-US" sz="2000" b="1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en-US" sz="1600" b="1" dirty="0">
                <a:solidFill>
                  <a:schemeClr val="bg1">
                    <a:lumMod val="75000"/>
                  </a:schemeClr>
                </a:solidFill>
              </a:rPr>
              <a:t>VP, business development</a:t>
            </a:r>
          </a:p>
          <a:p>
            <a:pPr algn="ctr"/>
            <a:r>
              <a:rPr lang="en-US" sz="1600" b="1" dirty="0">
                <a:solidFill>
                  <a:schemeClr val="bg1">
                    <a:lumMod val="75000"/>
                  </a:schemeClr>
                </a:solidFill>
              </a:rPr>
              <a:t>Flywheel.io 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4FAE13A0-85A4-4F5D-A2C8-6EB5E4D60502}"/>
              </a:ext>
            </a:extLst>
          </p:cNvPr>
          <p:cNvSpPr/>
          <p:nvPr/>
        </p:nvSpPr>
        <p:spPr bwMode="gray">
          <a:xfrm>
            <a:off x="6188428" y="5512105"/>
            <a:ext cx="4089099" cy="1046188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>
                    <a:lumMod val="75000"/>
                  </a:schemeClr>
                </a:solidFill>
              </a:rPr>
              <a:t>xx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1821" y="181938"/>
            <a:ext cx="10798460" cy="468302"/>
          </a:xfrm>
        </p:spPr>
        <p:txBody>
          <a:bodyPr/>
          <a:lstStyle/>
          <a:p>
            <a:r>
              <a:rPr lang="en-US" b="1" dirty="0"/>
              <a:t>New PINTAD multidisciplinary management Team</a:t>
            </a: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</p:nvPr>
        </p:nvSpPr>
        <p:spPr>
          <a:xfrm>
            <a:off x="974672" y="6607773"/>
            <a:ext cx="8640000" cy="108000"/>
          </a:xfrm>
        </p:spPr>
        <p:txBody>
          <a:bodyPr/>
          <a:lstStyle/>
          <a:p>
            <a:r>
              <a:rPr lang="en-US" dirty="0"/>
              <a:t>/// Bayer 16:9 Template /// September 2018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>
          <a:xfrm>
            <a:off x="195843" y="649601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t>3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4CDED1E-4B68-4F97-962A-63338909FEC6}"/>
              </a:ext>
            </a:extLst>
          </p:cNvPr>
          <p:cNvGrpSpPr/>
          <p:nvPr/>
        </p:nvGrpSpPr>
        <p:grpSpPr>
          <a:xfrm>
            <a:off x="2386885" y="764777"/>
            <a:ext cx="7244077" cy="6003457"/>
            <a:chOff x="2386885" y="764777"/>
            <a:chExt cx="7244077" cy="6003457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BB83F869-6422-4BE4-B3D2-8DD05702A4AE}"/>
                </a:ext>
              </a:extLst>
            </p:cNvPr>
            <p:cNvSpPr/>
            <p:nvPr/>
          </p:nvSpPr>
          <p:spPr bwMode="gray">
            <a:xfrm>
              <a:off x="4692084" y="2034616"/>
              <a:ext cx="3017520" cy="946754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2000" b="1" dirty="0"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</a:rPr>
                <a:t>Julie </a:t>
              </a:r>
              <a:r>
                <a:rPr lang="en-US" sz="2000" b="1" dirty="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</a:rPr>
                <a:t>Gillis</a:t>
              </a:r>
              <a:r>
                <a:rPr lang="en-US" sz="2000" b="1" dirty="0"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</a:rPr>
                <a:t> MPH</a:t>
              </a:r>
            </a:p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800" b="1" i="0" u="none" baseline="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endParaRPr>
            </a:p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1" i="0" u="none" baseline="0" dirty="0">
                  <a:solidFill>
                    <a:schemeClr val="bg1">
                      <a:lumMod val="95000"/>
                    </a:schemeClr>
                  </a:solidFill>
                </a:rPr>
                <a:t>Lead Consultant</a:t>
              </a:r>
            </a:p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1" dirty="0" err="1">
                  <a:solidFill>
                    <a:schemeClr val="bg1">
                      <a:lumMod val="95000"/>
                    </a:schemeClr>
                  </a:solidFill>
                </a:rPr>
                <a:t>Merigold</a:t>
              </a:r>
              <a:endParaRPr lang="en-US" sz="1600" b="1" i="0" u="none" baseline="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1DBBFC50-7EF1-4B96-AFB9-F384521B5648}"/>
                </a:ext>
              </a:extLst>
            </p:cNvPr>
            <p:cNvSpPr/>
            <p:nvPr/>
          </p:nvSpPr>
          <p:spPr bwMode="gray">
            <a:xfrm rot="16200000">
              <a:off x="3007195" y="144467"/>
              <a:ext cx="6003457" cy="7244077"/>
            </a:xfrm>
            <a:prstGeom prst="ellipse">
              <a:avLst/>
            </a:prstGeom>
            <a:solidFill>
              <a:schemeClr val="accent6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B5D870C9-8A7A-4861-99FE-403E7E7A08A0}"/>
                </a:ext>
              </a:extLst>
            </p:cNvPr>
            <p:cNvSpPr/>
            <p:nvPr/>
          </p:nvSpPr>
          <p:spPr bwMode="gray">
            <a:xfrm>
              <a:off x="6735932" y="5141915"/>
              <a:ext cx="1700509" cy="1059882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b="1" i="1" dirty="0"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</a:rPr>
                <a:t>Non oncology imaging</a:t>
              </a:r>
              <a:endParaRPr lang="en-US" sz="1800" b="1" i="1" u="none" baseline="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22F1A5F-FFA4-47CE-8302-5E3969233EBB}"/>
                </a:ext>
              </a:extLst>
            </p:cNvPr>
            <p:cNvSpPr/>
            <p:nvPr/>
          </p:nvSpPr>
          <p:spPr bwMode="gray">
            <a:xfrm>
              <a:off x="2814832" y="4089419"/>
              <a:ext cx="1481773" cy="934118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b="1" i="1" dirty="0"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</a:rPr>
                <a:t>PET</a:t>
              </a:r>
              <a:endParaRPr lang="en-US" sz="1800" b="1" i="1" u="none" baseline="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98F9FCBD-6215-4AE4-9FC1-087B1C764EDE}"/>
                </a:ext>
              </a:extLst>
            </p:cNvPr>
            <p:cNvSpPr/>
            <p:nvPr/>
          </p:nvSpPr>
          <p:spPr bwMode="gray">
            <a:xfrm>
              <a:off x="2398297" y="3234902"/>
              <a:ext cx="1909053" cy="812800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b="1" i="1" dirty="0"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</a:rPr>
                <a:t>Response criteria</a:t>
              </a:r>
              <a:endParaRPr lang="en-US" sz="1800" b="1" i="1" u="none" baseline="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2913E466-FE91-4EB2-8C27-9E644EEFB561}"/>
                </a:ext>
              </a:extLst>
            </p:cNvPr>
            <p:cNvSpPr/>
            <p:nvPr/>
          </p:nvSpPr>
          <p:spPr bwMode="gray">
            <a:xfrm>
              <a:off x="4562046" y="2737523"/>
              <a:ext cx="1700509" cy="812800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b="1" i="1" dirty="0"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</a:rPr>
                <a:t>Medical writing</a:t>
              </a:r>
              <a:endParaRPr lang="en-US" sz="1800" b="1" i="1" u="none" baseline="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930D2891-3DE3-4EA4-AFB7-B3B46665C86A}"/>
                </a:ext>
              </a:extLst>
            </p:cNvPr>
            <p:cNvSpPr/>
            <p:nvPr/>
          </p:nvSpPr>
          <p:spPr bwMode="gray">
            <a:xfrm>
              <a:off x="4968863" y="888021"/>
              <a:ext cx="2310190" cy="812800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b="1" i="1" dirty="0"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</a:rPr>
                <a:t>Clinical development</a:t>
              </a:r>
              <a:endParaRPr lang="en-US" sz="1800" b="1" i="1" u="none" baseline="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C428F959-199F-49EE-937A-7A1DE32FDE4E}"/>
                </a:ext>
              </a:extLst>
            </p:cNvPr>
            <p:cNvSpPr/>
            <p:nvPr/>
          </p:nvSpPr>
          <p:spPr bwMode="gray">
            <a:xfrm>
              <a:off x="6935701" y="1406464"/>
              <a:ext cx="1700509" cy="812800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b="1" i="1" dirty="0"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</a:rPr>
                <a:t>statistics</a:t>
              </a:r>
              <a:endParaRPr lang="en-US" sz="1800" b="1" i="1" u="none" baseline="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8208C93C-4F1B-45E2-A4C1-0A94C45A947E}"/>
                </a:ext>
              </a:extLst>
            </p:cNvPr>
            <p:cNvSpPr/>
            <p:nvPr/>
          </p:nvSpPr>
          <p:spPr bwMode="gray">
            <a:xfrm>
              <a:off x="3370824" y="1511526"/>
              <a:ext cx="2310190" cy="812800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b="1" i="1" dirty="0"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</a:rPr>
                <a:t>therapeutics</a:t>
              </a:r>
              <a:endParaRPr lang="en-US" sz="1800" b="1" i="1" u="none" baseline="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4E08E36-75ED-48C8-A5DB-DADE2A02FC03}"/>
                </a:ext>
              </a:extLst>
            </p:cNvPr>
            <p:cNvSpPr/>
            <p:nvPr/>
          </p:nvSpPr>
          <p:spPr bwMode="gray">
            <a:xfrm>
              <a:off x="3989159" y="3602437"/>
              <a:ext cx="2310190" cy="812800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b="1" i="1" dirty="0"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</a:rPr>
                <a:t>Data management</a:t>
              </a:r>
              <a:endParaRPr lang="en-US" sz="1800" b="1" i="1" u="none" baseline="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67209AD4-F1B5-4A91-89DA-D2A1F10F9A63}"/>
                </a:ext>
              </a:extLst>
            </p:cNvPr>
            <p:cNvSpPr/>
            <p:nvPr/>
          </p:nvSpPr>
          <p:spPr bwMode="gray">
            <a:xfrm>
              <a:off x="3520426" y="5432226"/>
              <a:ext cx="1776722" cy="812800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b="1" i="1" dirty="0"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</a:rPr>
                <a:t>Oncology imaging</a:t>
              </a:r>
              <a:endParaRPr lang="en-US" sz="1800" b="1" i="1" u="none" baseline="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F5D2781C-0F47-41C2-A358-1F2B691B9879}"/>
                </a:ext>
              </a:extLst>
            </p:cNvPr>
            <p:cNvSpPr/>
            <p:nvPr/>
          </p:nvSpPr>
          <p:spPr bwMode="gray">
            <a:xfrm>
              <a:off x="5604435" y="1856823"/>
              <a:ext cx="1401929" cy="934507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b="1" i="1" dirty="0" err="1"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</a:rPr>
                <a:t>iCRO</a:t>
              </a:r>
              <a:endParaRPr lang="en-US" sz="1800" b="1" i="1" u="none" baseline="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43D4B0F7-54D4-4736-BFC6-5FD377E38C5C}"/>
                </a:ext>
              </a:extLst>
            </p:cNvPr>
            <p:cNvSpPr/>
            <p:nvPr/>
          </p:nvSpPr>
          <p:spPr bwMode="gray">
            <a:xfrm>
              <a:off x="7473676" y="3513829"/>
              <a:ext cx="2113335" cy="812800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b="1" i="1" dirty="0"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</a:rPr>
                <a:t>diagnostics</a:t>
              </a:r>
              <a:endParaRPr lang="en-US" sz="1800" b="1" i="1" u="none" baseline="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E6C32282-0EED-4BE4-AF44-C1A5AD5EEB45}"/>
                </a:ext>
              </a:extLst>
            </p:cNvPr>
            <p:cNvSpPr/>
            <p:nvPr/>
          </p:nvSpPr>
          <p:spPr bwMode="gray">
            <a:xfrm>
              <a:off x="6078626" y="3769594"/>
              <a:ext cx="1401929" cy="812800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i="1" u="none" baseline="0" dirty="0"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</a:rPr>
                <a:t>AI</a:t>
              </a: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0973DD3B-1342-4BF9-A024-74ACC439BFD7}"/>
                </a:ext>
              </a:extLst>
            </p:cNvPr>
            <p:cNvSpPr/>
            <p:nvPr/>
          </p:nvSpPr>
          <p:spPr bwMode="gray">
            <a:xfrm>
              <a:off x="2610382" y="2328503"/>
              <a:ext cx="2310190" cy="812800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b="1" i="1" dirty="0"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</a:rPr>
                <a:t>Radiology</a:t>
              </a:r>
              <a:endParaRPr lang="en-US" sz="1800" b="1" i="1" u="none" baseline="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AB26E75-50F7-4F97-99D4-B694566F8367}"/>
                </a:ext>
              </a:extLst>
            </p:cNvPr>
            <p:cNvSpPr/>
            <p:nvPr/>
          </p:nvSpPr>
          <p:spPr bwMode="gray">
            <a:xfrm>
              <a:off x="7006364" y="2241484"/>
              <a:ext cx="2310190" cy="812800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b="1" i="1" dirty="0"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</a:rPr>
                <a:t>Nuclear Medicine</a:t>
              </a:r>
              <a:endParaRPr lang="en-US" sz="1800" b="1" i="1" u="none" baseline="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8C190CDD-0B9F-4578-9A64-2977D0397180}"/>
                </a:ext>
              </a:extLst>
            </p:cNvPr>
            <p:cNvSpPr/>
            <p:nvPr/>
          </p:nvSpPr>
          <p:spPr bwMode="gray">
            <a:xfrm>
              <a:off x="6355966" y="2953706"/>
              <a:ext cx="1805493" cy="812800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b="1" i="1" dirty="0"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</a:rPr>
                <a:t>academia</a:t>
              </a:r>
              <a:endParaRPr lang="en-US" sz="1800" b="1" i="1" u="none" baseline="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54C7F32-4212-4F2E-8F29-4CF524D30321}"/>
                </a:ext>
              </a:extLst>
            </p:cNvPr>
            <p:cNvSpPr/>
            <p:nvPr/>
          </p:nvSpPr>
          <p:spPr bwMode="gray">
            <a:xfrm>
              <a:off x="4075060" y="4617335"/>
              <a:ext cx="1700509" cy="812800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b="1" i="1" dirty="0"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</a:rPr>
                <a:t>Pharma industry</a:t>
              </a:r>
              <a:endParaRPr lang="en-US" sz="1800" b="1" i="1" u="none" baseline="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D1AC69A1-37D0-4048-BD74-C49249D95301}"/>
                </a:ext>
              </a:extLst>
            </p:cNvPr>
            <p:cNvSpPr/>
            <p:nvPr/>
          </p:nvSpPr>
          <p:spPr bwMode="gray">
            <a:xfrm>
              <a:off x="5376055" y="5757960"/>
              <a:ext cx="1776722" cy="812800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b="1" i="1" dirty="0"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</a:rPr>
                <a:t>Policy</a:t>
              </a:r>
              <a:endParaRPr lang="en-US" sz="1800" b="1" i="1" u="none" baseline="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39D74925-87E9-4E35-8DAF-282E48DF01DC}"/>
                </a:ext>
              </a:extLst>
            </p:cNvPr>
            <p:cNvSpPr/>
            <p:nvPr/>
          </p:nvSpPr>
          <p:spPr bwMode="gray">
            <a:xfrm>
              <a:off x="5777523" y="4449527"/>
              <a:ext cx="3617326" cy="765884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lumMod val="67000"/>
                  </a:schemeClr>
                </a:gs>
                <a:gs pos="48000">
                  <a:schemeClr val="accent6">
                    <a:lumMod val="97000"/>
                    <a:lumOff val="3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b="1" i="1" dirty="0">
                  <a:solidFill>
                    <a:schemeClr val="bg1">
                      <a:lumMod val="95000"/>
                    </a:schemeClr>
                  </a:solidFill>
                  <a:latin typeface="Arial" panose="020B0604020202020204" pitchFamily="34" charset="0"/>
                </a:rPr>
                <a:t>radiopharmaceuticals</a:t>
              </a:r>
              <a:endParaRPr lang="en-US" sz="1800" b="1" i="1" u="none" baseline="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460762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/>
              <a:t>OPERATI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sz="quarter" idx="14"/>
          </p:nvPr>
        </p:nvSpPr>
        <p:spPr>
          <a:xfrm>
            <a:off x="981820" y="1411442"/>
            <a:ext cx="10798461" cy="5073308"/>
          </a:xfrm>
        </p:spPr>
        <p:txBody>
          <a:bodyPr/>
          <a:lstStyle/>
          <a:p>
            <a:pPr lvl="1"/>
            <a:r>
              <a:rPr lang="en-US" sz="2400" dirty="0"/>
              <a:t>Last Friday of every month</a:t>
            </a:r>
          </a:p>
          <a:p>
            <a:pPr lvl="2"/>
            <a:r>
              <a:rPr lang="en-US" sz="2000" dirty="0"/>
              <a:t>keep same monthly schedule</a:t>
            </a:r>
          </a:p>
          <a:p>
            <a:pPr lvl="2"/>
            <a:r>
              <a:rPr lang="en-US" sz="2000" dirty="0"/>
              <a:t>keep same 11am ET timeslot</a:t>
            </a:r>
          </a:p>
          <a:p>
            <a:pPr lvl="2"/>
            <a:r>
              <a:rPr lang="en-US" sz="2000" dirty="0"/>
              <a:t>no PINTAD session in August</a:t>
            </a:r>
          </a:p>
          <a:p>
            <a:pPr lvl="2"/>
            <a:r>
              <a:rPr lang="en-US" sz="2000" dirty="0"/>
              <a:t>December session </a:t>
            </a:r>
            <a:r>
              <a:rPr lang="en-US" sz="2000" dirty="0" err="1"/>
              <a:t>tbd</a:t>
            </a:r>
            <a:endParaRPr lang="en-US" sz="2000" dirty="0"/>
          </a:p>
          <a:p>
            <a:pPr lvl="2"/>
            <a:endParaRPr lang="en-US" sz="2000" dirty="0"/>
          </a:p>
          <a:p>
            <a:pPr lvl="1"/>
            <a:r>
              <a:rPr lang="en-US" sz="2400" dirty="0"/>
              <a:t>Teams meeting</a:t>
            </a:r>
          </a:p>
          <a:p>
            <a:pPr lvl="2"/>
            <a:r>
              <a:rPr lang="en-US" sz="2000" dirty="0"/>
              <a:t>video-capable </a:t>
            </a:r>
          </a:p>
          <a:p>
            <a:pPr lvl="2"/>
            <a:r>
              <a:rPr lang="en-US" sz="2000" dirty="0"/>
              <a:t>chat, Q&amp;A, and poll functions</a:t>
            </a:r>
          </a:p>
          <a:p>
            <a:pPr lvl="2"/>
            <a:r>
              <a:rPr lang="en-US" sz="2000" dirty="0"/>
              <a:t>moderation of PINTAD sessions by a SC member (or designee)</a:t>
            </a:r>
          </a:p>
          <a:p>
            <a:pPr lvl="2"/>
            <a:r>
              <a:rPr lang="en-US" sz="2000" dirty="0"/>
              <a:t>Rotation in topics: oncology/non-oncology, clinical/early clinical-TS</a:t>
            </a: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4</a:t>
            </a:fld>
            <a:endParaRPr lang="en-US" dirty="0"/>
          </a:p>
        </p:txBody>
      </p:sp>
      <p:pic>
        <p:nvPicPr>
          <p:cNvPr id="2050" name="Picture 2" descr="File:Microsoft Office Teams (2018–present).svg - Wikimedia Commons">
            <a:extLst>
              <a:ext uri="{FF2B5EF4-FFF2-40B4-BE49-F238E27FC236}">
                <a16:creationId xmlns:a16="http://schemas.microsoft.com/office/drawing/2014/main" id="{492C18E0-5883-47D8-8C21-55E4F0D19D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4672" y="4365526"/>
            <a:ext cx="2026029" cy="1886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F2865B97-99E8-44B4-8C3C-A1F088021E33}"/>
              </a:ext>
            </a:extLst>
          </p:cNvPr>
          <p:cNvGrpSpPr/>
          <p:nvPr/>
        </p:nvGrpSpPr>
        <p:grpSpPr>
          <a:xfrm>
            <a:off x="7853680" y="1264186"/>
            <a:ext cx="3926601" cy="2864014"/>
            <a:chOff x="8659230" y="1151218"/>
            <a:chExt cx="3121051" cy="2360407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19D41BF4-F8EB-4980-817C-5F9A2EE9B041}"/>
                </a:ext>
              </a:extLst>
            </p:cNvPr>
            <p:cNvGrpSpPr/>
            <p:nvPr/>
          </p:nvGrpSpPr>
          <p:grpSpPr>
            <a:xfrm>
              <a:off x="8659230" y="1151218"/>
              <a:ext cx="3121051" cy="2360407"/>
              <a:chOff x="3271520" y="1601308"/>
              <a:chExt cx="8508761" cy="5124625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20F693AF-1AFD-423F-9262-6F63D641E0E8}"/>
                  </a:ext>
                </a:extLst>
              </p:cNvPr>
              <p:cNvGrpSpPr/>
              <p:nvPr/>
            </p:nvGrpSpPr>
            <p:grpSpPr>
              <a:xfrm>
                <a:off x="3271520" y="1601308"/>
                <a:ext cx="8508761" cy="5124625"/>
                <a:chOff x="-2262331" y="-1270000"/>
                <a:chExt cx="11338069" cy="6375400"/>
              </a:xfrm>
            </p:grpSpPr>
            <p:pic>
              <p:nvPicPr>
                <p:cNvPr id="2052" name="Picture 4" descr="Simple wall calendar for 2020 on dark background | Premium Vector">
                  <a:extLst>
                    <a:ext uri="{FF2B5EF4-FFF2-40B4-BE49-F238E27FC236}">
                      <a16:creationId xmlns:a16="http://schemas.microsoft.com/office/drawing/2014/main" id="{58A57AFB-3F14-4F7C-B957-3A9C96815C7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2262331" y="-1270000"/>
                  <a:ext cx="11338069" cy="63754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7" name="Oval 6">
                  <a:extLst>
                    <a:ext uri="{FF2B5EF4-FFF2-40B4-BE49-F238E27FC236}">
                      <a16:creationId xmlns:a16="http://schemas.microsoft.com/office/drawing/2014/main" id="{C376FCD8-F4A1-4FB2-93D9-B31CB97F266F}"/>
                    </a:ext>
                  </a:extLst>
                </p:cNvPr>
                <p:cNvSpPr/>
                <p:nvPr/>
              </p:nvSpPr>
              <p:spPr bwMode="gray">
                <a:xfrm>
                  <a:off x="1669990" y="4031532"/>
                  <a:ext cx="335280" cy="289560"/>
                </a:xfrm>
                <a:prstGeom prst="ellipse">
                  <a:avLst/>
                </a:prstGeom>
                <a:noFill/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rtl="0" eaLnBrk="1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800" b="0" i="0" u="none" baseline="0" dirty="0">
                    <a:solidFill>
                      <a:srgbClr val="FFFFFF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2" name="Oval 11">
                  <a:extLst>
                    <a:ext uri="{FF2B5EF4-FFF2-40B4-BE49-F238E27FC236}">
                      <a16:creationId xmlns:a16="http://schemas.microsoft.com/office/drawing/2014/main" id="{01BEA805-1774-4C79-8254-5A2185CEA591}"/>
                    </a:ext>
                  </a:extLst>
                </p:cNvPr>
                <p:cNvSpPr/>
                <p:nvPr/>
              </p:nvSpPr>
              <p:spPr bwMode="gray">
                <a:xfrm>
                  <a:off x="3726993" y="4203047"/>
                  <a:ext cx="335280" cy="289560"/>
                </a:xfrm>
                <a:prstGeom prst="ellipse">
                  <a:avLst/>
                </a:prstGeom>
                <a:noFill/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rtl="0" eaLnBrk="1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800" b="0" i="0" u="none" baseline="0" dirty="0">
                    <a:solidFill>
                      <a:srgbClr val="FFFFFF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8AEE79C8-445E-40F4-AAC0-43B0DB0052D4}"/>
                    </a:ext>
                  </a:extLst>
                </p:cNvPr>
                <p:cNvSpPr/>
                <p:nvPr/>
              </p:nvSpPr>
              <p:spPr bwMode="gray">
                <a:xfrm>
                  <a:off x="5783996" y="4049864"/>
                  <a:ext cx="335280" cy="289560"/>
                </a:xfrm>
                <a:prstGeom prst="ellipse">
                  <a:avLst/>
                </a:prstGeom>
                <a:noFill/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rtl="0" eaLnBrk="1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800" b="0" i="0" u="none" baseline="0" dirty="0">
                    <a:solidFill>
                      <a:srgbClr val="FFFFFF"/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6" name="Oval 15">
                  <a:extLst>
                    <a:ext uri="{FF2B5EF4-FFF2-40B4-BE49-F238E27FC236}">
                      <a16:creationId xmlns:a16="http://schemas.microsoft.com/office/drawing/2014/main" id="{F5DE7E38-1F6F-4A20-88B1-8A1A0984A5ED}"/>
                    </a:ext>
                  </a:extLst>
                </p:cNvPr>
                <p:cNvSpPr/>
                <p:nvPr/>
              </p:nvSpPr>
              <p:spPr bwMode="gray">
                <a:xfrm>
                  <a:off x="7828707" y="4031532"/>
                  <a:ext cx="335280" cy="289560"/>
                </a:xfrm>
                <a:prstGeom prst="ellipse">
                  <a:avLst/>
                </a:prstGeom>
                <a:noFill/>
                <a:ln>
                  <a:solidFill>
                    <a:srgbClr val="FF0000"/>
                  </a:solidFill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rtl="0" eaLnBrk="1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800" b="0" i="0" u="none" baseline="0" dirty="0">
                    <a:solidFill>
                      <a:srgbClr val="FFFFFF"/>
                    </a:solidFill>
                    <a:latin typeface="Arial" panose="020B0604020202020204" pitchFamily="34" charset="0"/>
                  </a:endParaRPr>
                </a:p>
              </p:txBody>
            </p:sp>
          </p:grpSp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CAF9BF6A-828E-4E41-98CE-0CE739E1F973}"/>
                  </a:ext>
                </a:extLst>
              </p:cNvPr>
              <p:cNvSpPr/>
              <p:nvPr/>
            </p:nvSpPr>
            <p:spPr bwMode="gray">
              <a:xfrm>
                <a:off x="10863561" y="4522210"/>
                <a:ext cx="251613" cy="232752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i="0" u="none" baseline="0" dirty="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</p:grpSp>
        <p:pic>
          <p:nvPicPr>
            <p:cNvPr id="2054" name="Picture 6" descr="paradise, exotic, tropical, dusk, vacation, resort, holiday ...">
              <a:extLst>
                <a:ext uri="{FF2B5EF4-FFF2-40B4-BE49-F238E27FC236}">
                  <a16:creationId xmlns:a16="http://schemas.microsoft.com/office/drawing/2014/main" id="{798122D5-D1FF-4F4C-9276-66DD7052E4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07536" y="2972109"/>
              <a:ext cx="373250" cy="373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970131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/>
              <a:t>SESSIONS FORMA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sz="quarter" idx="14"/>
          </p:nvPr>
        </p:nvSpPr>
        <p:spPr>
          <a:xfrm>
            <a:off x="981820" y="1717040"/>
            <a:ext cx="10798461" cy="4767710"/>
          </a:xfrm>
        </p:spPr>
        <p:txBody>
          <a:bodyPr/>
          <a:lstStyle/>
          <a:p>
            <a:pPr lvl="1"/>
            <a:r>
              <a:rPr lang="en-US" sz="2400" dirty="0"/>
              <a:t>Interactive sessions with rotating Moderator, Q&amp;A and polls</a:t>
            </a:r>
          </a:p>
          <a:p>
            <a:pPr lvl="1"/>
            <a:endParaRPr lang="en-US" sz="2400" dirty="0"/>
          </a:p>
          <a:p>
            <a:pPr lvl="1"/>
            <a:r>
              <a:rPr lang="en-US" sz="2400" dirty="0"/>
              <a:t>Diversity with rotating topics</a:t>
            </a:r>
          </a:p>
          <a:p>
            <a:pPr lvl="2"/>
            <a:r>
              <a:rPr lang="en-US" sz="2000" dirty="0"/>
              <a:t>Oncology vs non-oncology</a:t>
            </a:r>
          </a:p>
          <a:p>
            <a:pPr lvl="2"/>
            <a:r>
              <a:rPr lang="en-US" sz="2000" dirty="0"/>
              <a:t>Clinical vs early clinical/translational</a:t>
            </a:r>
          </a:p>
          <a:p>
            <a:pPr lvl="2"/>
            <a:endParaRPr lang="en-US" sz="2000" dirty="0"/>
          </a:p>
          <a:p>
            <a:pPr lvl="1"/>
            <a:r>
              <a:rPr lang="en-US" sz="2400" dirty="0"/>
              <a:t>Fit-for-purpose sessions</a:t>
            </a:r>
          </a:p>
          <a:p>
            <a:pPr lvl="2"/>
            <a:r>
              <a:rPr lang="en-US" sz="2000" dirty="0"/>
              <a:t>Standard session</a:t>
            </a:r>
          </a:p>
          <a:p>
            <a:pPr lvl="2"/>
            <a:r>
              <a:rPr lang="en-US" sz="2000" dirty="0"/>
              <a:t>Panel meeting</a:t>
            </a:r>
          </a:p>
          <a:p>
            <a:pPr lvl="2"/>
            <a:r>
              <a:rPr lang="en-US" sz="2000" dirty="0"/>
              <a:t>Journal club</a:t>
            </a:r>
          </a:p>
          <a:p>
            <a:pPr marL="270000" lvl="2" indent="0">
              <a:buNone/>
            </a:pPr>
            <a:endParaRPr lang="en-US" sz="2000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Bayer 16:9 Template /// September 2018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5</a:t>
            </a:fld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D76EBFC-FA2B-435F-B202-ACBFD7BC58BA}"/>
              </a:ext>
            </a:extLst>
          </p:cNvPr>
          <p:cNvGrpSpPr/>
          <p:nvPr/>
        </p:nvGrpSpPr>
        <p:grpSpPr>
          <a:xfrm>
            <a:off x="6223954" y="2412635"/>
            <a:ext cx="5117186" cy="3496140"/>
            <a:chOff x="6223954" y="2412635"/>
            <a:chExt cx="5117186" cy="3496140"/>
          </a:xfrm>
        </p:grpSpPr>
        <p:pic>
          <p:nvPicPr>
            <p:cNvPr id="3074" name="Picture 2" descr="Publication Cover">
              <a:extLst>
                <a:ext uri="{FF2B5EF4-FFF2-40B4-BE49-F238E27FC236}">
                  <a16:creationId xmlns:a16="http://schemas.microsoft.com/office/drawing/2014/main" id="{50A23A27-F7D4-4691-AE60-17FD40A980D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8538219">
              <a:off x="6601825" y="2993880"/>
              <a:ext cx="2229440" cy="29851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7548DAA-6F40-4E27-8ECC-F33B7139F05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20740266">
              <a:off x="7259409" y="2516557"/>
              <a:ext cx="2179070" cy="2971459"/>
            </a:xfrm>
            <a:prstGeom prst="rect">
              <a:avLst/>
            </a:prstGeom>
          </p:spPr>
        </p:pic>
        <p:pic>
          <p:nvPicPr>
            <p:cNvPr id="3078" name="Picture 6" descr="Radiology cover">
              <a:extLst>
                <a:ext uri="{FF2B5EF4-FFF2-40B4-BE49-F238E27FC236}">
                  <a16:creationId xmlns:a16="http://schemas.microsoft.com/office/drawing/2014/main" id="{4E306FA6-B884-42EA-8FAF-4CA36F94773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914129">
              <a:off x="8220029" y="2412635"/>
              <a:ext cx="2265826" cy="29869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6" name="Picture 4" descr="Current Issue Cover">
              <a:extLst>
                <a:ext uri="{FF2B5EF4-FFF2-40B4-BE49-F238E27FC236}">
                  <a16:creationId xmlns:a16="http://schemas.microsoft.com/office/drawing/2014/main" id="{696D2A32-39FD-41CF-B55E-26590AE00F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517359">
              <a:off x="9075314" y="2921241"/>
              <a:ext cx="2265826" cy="29875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6213189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1821" y="457200"/>
            <a:ext cx="1476899" cy="5506720"/>
          </a:xfrm>
          <a:prstGeom prst="roundRect">
            <a:avLst/>
          </a:prstGeom>
          <a:solidFill>
            <a:srgbClr val="C0000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vert="wordArtVert" anchor="ctr"/>
          <a:lstStyle/>
          <a:p>
            <a:pPr algn="ctr"/>
            <a:r>
              <a:rPr lang="en-US" sz="3200" b="1" dirty="0"/>
              <a:t>STRATEGIC VIS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sz="quarter" idx="14"/>
          </p:nvPr>
        </p:nvSpPr>
        <p:spPr>
          <a:xfrm>
            <a:off x="3238311" y="379665"/>
            <a:ext cx="8466009" cy="6098670"/>
          </a:xfrm>
        </p:spPr>
        <p:txBody>
          <a:bodyPr/>
          <a:lstStyle/>
          <a:p>
            <a:pPr lvl="1"/>
            <a:r>
              <a:rPr lang="en-US" sz="2400" b="1" dirty="0"/>
              <a:t>Engaging the PINTAD multidisciplinary community</a:t>
            </a:r>
          </a:p>
          <a:p>
            <a:pPr lvl="2"/>
            <a:r>
              <a:rPr lang="en-US" sz="2000" dirty="0"/>
              <a:t>general PINTAD audience</a:t>
            </a:r>
          </a:p>
          <a:p>
            <a:pPr lvl="2"/>
            <a:r>
              <a:rPr lang="en-US" sz="2000" dirty="0"/>
              <a:t>Academia and Industry </a:t>
            </a:r>
          </a:p>
          <a:p>
            <a:pPr lvl="2"/>
            <a:r>
              <a:rPr lang="en-US" sz="2000" dirty="0"/>
              <a:t>Imaging and Clinical</a:t>
            </a:r>
          </a:p>
          <a:p>
            <a:pPr lvl="2"/>
            <a:r>
              <a:rPr lang="en-US" sz="2000" dirty="0"/>
              <a:t>Regulators (diagnostics and therapeutics)</a:t>
            </a:r>
          </a:p>
          <a:p>
            <a:pPr lvl="3"/>
            <a:r>
              <a:rPr lang="en-US" dirty="0"/>
              <a:t>annual global regulatory PINTAD meeting (EU and NA)</a:t>
            </a:r>
          </a:p>
          <a:p>
            <a:pPr lvl="3"/>
            <a:endParaRPr lang="en-US" sz="800" dirty="0"/>
          </a:p>
          <a:p>
            <a:pPr lvl="1"/>
            <a:r>
              <a:rPr lang="en-US" sz="2400" b="1" dirty="0"/>
              <a:t>Communicating the PINTAD</a:t>
            </a:r>
          </a:p>
          <a:p>
            <a:pPr lvl="2"/>
            <a:r>
              <a:rPr lang="en-US" sz="2000" dirty="0"/>
              <a:t>Presence on LinkedIn</a:t>
            </a:r>
          </a:p>
          <a:p>
            <a:pPr lvl="2"/>
            <a:r>
              <a:rPr lang="en-US" sz="2000" dirty="0"/>
              <a:t>Publication strategy*</a:t>
            </a:r>
          </a:p>
          <a:p>
            <a:pPr lvl="2"/>
            <a:endParaRPr lang="en-US" sz="800" dirty="0"/>
          </a:p>
          <a:p>
            <a:pPr lvl="1"/>
            <a:r>
              <a:rPr lang="en-US" sz="2400" b="1" dirty="0"/>
              <a:t>Enhancing the PINTAD</a:t>
            </a:r>
          </a:p>
          <a:p>
            <a:pPr lvl="2"/>
            <a:r>
              <a:rPr lang="en-US" sz="2000" dirty="0"/>
              <a:t>Working groups strategy*</a:t>
            </a:r>
          </a:p>
          <a:p>
            <a:pPr lvl="2"/>
            <a:r>
              <a:rPr lang="en-US" sz="2000" dirty="0"/>
              <a:t>Platform for dialogue and consensus among regulatory, industry, academia/IWG</a:t>
            </a:r>
          </a:p>
          <a:p>
            <a:pPr lvl="2"/>
            <a:endParaRPr lang="en-US" sz="2400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Bayer 16:9 Template /// September 2018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6</a:t>
            </a:fld>
            <a:endParaRPr lang="en-US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4BB249B-0FAE-4B66-A968-0EB169F0EEFC}"/>
              </a:ext>
            </a:extLst>
          </p:cNvPr>
          <p:cNvSpPr/>
          <p:nvPr/>
        </p:nvSpPr>
        <p:spPr bwMode="gray">
          <a:xfrm>
            <a:off x="2997200" y="312259"/>
            <a:ext cx="8817810" cy="2674854"/>
          </a:xfrm>
          <a:prstGeom prst="roundRect">
            <a:avLst/>
          </a:prstGeom>
          <a:noFill/>
          <a:ln w="76200"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7585DAD-2340-4BA0-B53A-409B4F715760}"/>
              </a:ext>
            </a:extLst>
          </p:cNvPr>
          <p:cNvSpPr/>
          <p:nvPr/>
        </p:nvSpPr>
        <p:spPr bwMode="gray">
          <a:xfrm>
            <a:off x="2997200" y="4700664"/>
            <a:ext cx="8817811" cy="1663001"/>
          </a:xfrm>
          <a:prstGeom prst="roundRect">
            <a:avLst/>
          </a:prstGeom>
          <a:noFill/>
          <a:ln w="76200"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619D92C-258F-4837-B011-787962DFC77E}"/>
              </a:ext>
            </a:extLst>
          </p:cNvPr>
          <p:cNvSpPr/>
          <p:nvPr/>
        </p:nvSpPr>
        <p:spPr bwMode="gray">
          <a:xfrm>
            <a:off x="2997200" y="3145807"/>
            <a:ext cx="8817810" cy="1396163"/>
          </a:xfrm>
          <a:prstGeom prst="roundRect">
            <a:avLst/>
          </a:prstGeom>
          <a:noFill/>
          <a:ln w="76200"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DB8631C-075C-4DE2-95DE-C0996387A5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05782" y="3515322"/>
            <a:ext cx="965533" cy="47472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9AAA6D3B-C4BC-459C-95E5-7817D094F5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33860" y="3194086"/>
            <a:ext cx="2574732" cy="130125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8171BA4-FCAE-4BE7-B27E-E3FDEF4D6D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30088" y="4011993"/>
            <a:ext cx="935171" cy="434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560124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3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3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3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3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3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672" y="244000"/>
            <a:ext cx="5113385" cy="986462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b="1" dirty="0"/>
              <a:t>SUBGROUP STRATEGY</a:t>
            </a: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Bayer 16:9 Template /// September 2018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7</a:t>
            </a:fld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lvl="1"/>
            <a:endParaRPr lang="en-US" sz="2400" dirty="0"/>
          </a:p>
          <a:p>
            <a:pPr lvl="2"/>
            <a:endParaRPr lang="en-US" sz="240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2049704-8BEB-412D-B834-487D1E2256B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74672" y="1468280"/>
            <a:ext cx="5120534" cy="5016471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lvl="1"/>
            <a:r>
              <a:rPr lang="en-US" sz="2400" dirty="0">
                <a:solidFill>
                  <a:srgbClr val="10384F"/>
                </a:solidFill>
              </a:rPr>
              <a:t>For selected topics with more impact on the scientific community</a:t>
            </a:r>
          </a:p>
          <a:p>
            <a:pPr lvl="2"/>
            <a:r>
              <a:rPr lang="en-US" sz="2000" dirty="0">
                <a:solidFill>
                  <a:srgbClr val="10384F"/>
                </a:solidFill>
              </a:rPr>
              <a:t>Large and complementary representation within the PINTAD</a:t>
            </a:r>
          </a:p>
          <a:p>
            <a:pPr lvl="2"/>
            <a:r>
              <a:rPr lang="en-US" sz="2000" dirty="0">
                <a:solidFill>
                  <a:srgbClr val="10384F"/>
                </a:solidFill>
              </a:rPr>
              <a:t>Standardization of new response criteria</a:t>
            </a:r>
          </a:p>
          <a:p>
            <a:pPr lvl="2"/>
            <a:r>
              <a:rPr lang="en-US" sz="2000" dirty="0">
                <a:solidFill>
                  <a:srgbClr val="10384F"/>
                </a:solidFill>
              </a:rPr>
              <a:t>Feedback on regulatory topics</a:t>
            </a:r>
          </a:p>
          <a:p>
            <a:pPr lvl="1"/>
            <a:r>
              <a:rPr lang="en-US" sz="2400" dirty="0">
                <a:solidFill>
                  <a:srgbClr val="10384F"/>
                </a:solidFill>
              </a:rPr>
              <a:t>Follow the model of the PROLOG</a:t>
            </a:r>
          </a:p>
          <a:p>
            <a:pPr lvl="2"/>
            <a:r>
              <a:rPr lang="en-US" sz="2000" dirty="0">
                <a:solidFill>
                  <a:srgbClr val="10384F"/>
                </a:solidFill>
              </a:rPr>
              <a:t>SC and 4 TF (working groups)</a:t>
            </a:r>
          </a:p>
          <a:p>
            <a:pPr lvl="2"/>
            <a:r>
              <a:rPr lang="en-US" sz="2000" dirty="0">
                <a:solidFill>
                  <a:srgbClr val="10384F"/>
                </a:solidFill>
              </a:rPr>
              <a:t>Update about PROLOG</a:t>
            </a:r>
          </a:p>
          <a:p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69B69A8-D599-49FE-B88D-719FF4BEA01E}"/>
              </a:ext>
            </a:extLst>
          </p:cNvPr>
          <p:cNvSpPr txBox="1">
            <a:spLocks/>
          </p:cNvSpPr>
          <p:nvPr/>
        </p:nvSpPr>
        <p:spPr bwMode="gray">
          <a:xfrm>
            <a:off x="6559603" y="244000"/>
            <a:ext cx="5219999" cy="100751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>
                <a:solidFill>
                  <a:schemeClr val="bg1"/>
                </a:solidFill>
              </a:rPr>
              <a:t>PUBLICATION STRATEGY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FDCAD33F-67A0-4EA5-8702-650EBB3E62FC}"/>
              </a:ext>
            </a:extLst>
          </p:cNvPr>
          <p:cNvSpPr txBox="1">
            <a:spLocks/>
          </p:cNvSpPr>
          <p:nvPr/>
        </p:nvSpPr>
        <p:spPr bwMode="gray">
          <a:xfrm>
            <a:off x="6559603" y="1468280"/>
            <a:ext cx="5219999" cy="5016471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3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2400" dirty="0">
                <a:solidFill>
                  <a:srgbClr val="10384F"/>
                </a:solidFill>
              </a:rPr>
              <a:t>Creating a bank of publication on behalf of the PINTAD network</a:t>
            </a:r>
          </a:p>
          <a:p>
            <a:pPr lvl="2"/>
            <a:r>
              <a:rPr lang="en-US" sz="2400" dirty="0">
                <a:solidFill>
                  <a:srgbClr val="10384F"/>
                </a:solidFill>
              </a:rPr>
              <a:t>Paper on reads variability submitted Q3 2020</a:t>
            </a:r>
          </a:p>
          <a:p>
            <a:pPr lvl="2"/>
            <a:r>
              <a:rPr lang="en-US" sz="2400" dirty="0">
                <a:solidFill>
                  <a:srgbClr val="10384F"/>
                </a:solidFill>
              </a:rPr>
              <a:t>Paper on Lugano from PROLOG scheduled Q4 2020 </a:t>
            </a:r>
          </a:p>
          <a:p>
            <a:pPr lvl="2"/>
            <a:r>
              <a:rPr lang="en-US" sz="2400" dirty="0">
                <a:solidFill>
                  <a:srgbClr val="10384F"/>
                </a:solidFill>
              </a:rPr>
              <a:t>Publication from subgroups, consensus, recommendations 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1281957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sz="quarter" idx="14"/>
          </p:nvPr>
        </p:nvSpPr>
        <p:spPr>
          <a:xfrm>
            <a:off x="274810" y="1527143"/>
            <a:ext cx="5569809" cy="2493391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/>
          <a:lstStyle/>
          <a:p>
            <a:pPr marL="0" lvl="1" indent="0" algn="ctr">
              <a:buNone/>
            </a:pPr>
            <a:r>
              <a:rPr lang="en-US" sz="2000" b="1" dirty="0"/>
              <a:t>Response Criteria</a:t>
            </a:r>
          </a:p>
          <a:p>
            <a:pPr marL="0" lvl="1" indent="0" algn="ctr">
              <a:buNone/>
            </a:pPr>
            <a:r>
              <a:rPr lang="en-US" dirty="0"/>
              <a:t>IT-RECIST </a:t>
            </a:r>
          </a:p>
          <a:p>
            <a:pPr marL="0" lvl="1" indent="0" algn="ctr">
              <a:buNone/>
            </a:pPr>
            <a:r>
              <a:rPr lang="en-US" dirty="0" err="1"/>
              <a:t>iRECIST</a:t>
            </a:r>
            <a:r>
              <a:rPr lang="en-US" dirty="0"/>
              <a:t>* </a:t>
            </a:r>
          </a:p>
          <a:p>
            <a:pPr marL="0" lvl="1" indent="0" algn="ctr">
              <a:buNone/>
            </a:pPr>
            <a:r>
              <a:rPr lang="en-US" dirty="0"/>
              <a:t>RECIL*</a:t>
            </a:r>
          </a:p>
          <a:p>
            <a:pPr marL="0" lvl="1" indent="0" algn="ctr">
              <a:buNone/>
            </a:pPr>
            <a:r>
              <a:rPr lang="en-US" dirty="0"/>
              <a:t>Beyond RECIST1.1: CNS efficacy (RECIST and RANO BM), pediatric assessments </a:t>
            </a: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8</a:t>
            </a:fld>
            <a:endParaRPr lang="en-US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9CB23F20-8F15-4981-8F72-D2DD0DEFD437}"/>
              </a:ext>
            </a:extLst>
          </p:cNvPr>
          <p:cNvSpPr/>
          <p:nvPr/>
        </p:nvSpPr>
        <p:spPr bwMode="gray">
          <a:xfrm>
            <a:off x="6532773" y="1527142"/>
            <a:ext cx="5099901" cy="1105533"/>
          </a:xfrm>
          <a:prstGeom prst="roundRect">
            <a:avLst/>
          </a:prstGeom>
          <a:solidFill>
            <a:schemeClr val="bg1">
              <a:lumMod val="50000"/>
            </a:schemeClr>
          </a:solidFill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AI in clinical trials and impact on imaging</a:t>
            </a:r>
          </a:p>
          <a:p>
            <a:pPr algn="ctr"/>
            <a:r>
              <a:rPr lang="en-US" dirty="0"/>
              <a:t>Acquisition, reads, data management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8AC97E8-A580-471B-BFFA-A991BAE42F6B}"/>
              </a:ext>
            </a:extLst>
          </p:cNvPr>
          <p:cNvSpPr/>
          <p:nvPr/>
        </p:nvSpPr>
        <p:spPr bwMode="gray">
          <a:xfrm>
            <a:off x="6532772" y="2929707"/>
            <a:ext cx="5099901" cy="1093784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Impact of COVID19/pandemic situation on imaging for clinical trials</a:t>
            </a:r>
          </a:p>
          <a:p>
            <a:pPr algn="ctr"/>
            <a:r>
              <a:rPr lang="en-US" dirty="0"/>
              <a:t>Decentralized trials / patient centered trials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42AFC258-C10E-48B4-9757-023A6500426E}"/>
              </a:ext>
            </a:extLst>
          </p:cNvPr>
          <p:cNvSpPr/>
          <p:nvPr/>
        </p:nvSpPr>
        <p:spPr bwMode="gray">
          <a:xfrm>
            <a:off x="274807" y="4276045"/>
            <a:ext cx="5569809" cy="732601"/>
          </a:xfrm>
          <a:prstGeom prst="round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err="1"/>
              <a:t>Theragnostics</a:t>
            </a:r>
            <a:endParaRPr lang="en-US" sz="2000" b="1" dirty="0"/>
          </a:p>
          <a:p>
            <a:pPr algn="ctr"/>
            <a:r>
              <a:rPr lang="en-US" dirty="0"/>
              <a:t>Radionuclide therapy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0492A2E-3F01-470A-8C78-CAF16299E0C4}"/>
              </a:ext>
            </a:extLst>
          </p:cNvPr>
          <p:cNvSpPr/>
          <p:nvPr/>
        </p:nvSpPr>
        <p:spPr bwMode="gray">
          <a:xfrm>
            <a:off x="274808" y="5355078"/>
            <a:ext cx="5569809" cy="1005205"/>
          </a:xfrm>
          <a:prstGeom prst="round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lvl="1" algn="ctr"/>
            <a:r>
              <a:rPr lang="en-US" sz="2000" b="1" dirty="0"/>
              <a:t>imaging biomarkers – molecular imaging companion diagnostics</a:t>
            </a:r>
          </a:p>
          <a:p>
            <a:pPr lvl="1" algn="ctr"/>
            <a:r>
              <a:rPr lang="en-US" dirty="0"/>
              <a:t>Translational imaging – targeted therapy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0B86224-FB8D-420D-A942-FF63497A86CD}"/>
              </a:ext>
            </a:extLst>
          </p:cNvPr>
          <p:cNvSpPr/>
          <p:nvPr/>
        </p:nvSpPr>
        <p:spPr bwMode="gray">
          <a:xfrm>
            <a:off x="6532770" y="4320523"/>
            <a:ext cx="5099901" cy="871888"/>
          </a:xfrm>
          <a:prstGeom prst="roundRect">
            <a:avLst/>
          </a:prstGeom>
          <a:solidFill>
            <a:schemeClr val="accent3">
              <a:lumMod val="50000"/>
              <a:lumOff val="50000"/>
            </a:schemeClr>
          </a:solidFill>
          <a:ln>
            <a:solidFill>
              <a:schemeClr val="accent3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Non-oncologic topics</a:t>
            </a:r>
          </a:p>
          <a:p>
            <a:pPr algn="ctr"/>
            <a:r>
              <a:rPr lang="en-US" dirty="0"/>
              <a:t>MSK, MS…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F4210EF8-EB2D-4901-88FE-E23659CC1C1B}"/>
              </a:ext>
            </a:extLst>
          </p:cNvPr>
          <p:cNvSpPr/>
          <p:nvPr/>
        </p:nvSpPr>
        <p:spPr bwMode="gray">
          <a:xfrm>
            <a:off x="6532771" y="5503388"/>
            <a:ext cx="5099901" cy="871888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Regulatory meetings</a:t>
            </a:r>
            <a:endParaRPr lang="en-US" dirty="0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3FC0C497-4515-4A0A-8348-31AFBB1AE796}"/>
              </a:ext>
            </a:extLst>
          </p:cNvPr>
          <p:cNvSpPr/>
          <p:nvPr/>
        </p:nvSpPr>
        <p:spPr bwMode="gray">
          <a:xfrm>
            <a:off x="1668544" y="261120"/>
            <a:ext cx="9059158" cy="927031"/>
          </a:xfrm>
          <a:prstGeom prst="parallelogram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/>
              <a:t>Topics for PINTAD sessions</a:t>
            </a:r>
          </a:p>
        </p:txBody>
      </p:sp>
    </p:spTree>
    <p:extLst>
      <p:ext uri="{BB962C8B-B14F-4D97-AF65-F5344CB8AC3E}">
        <p14:creationId xmlns:p14="http://schemas.microsoft.com/office/powerpoint/2010/main" val="2690325844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 animBg="1"/>
      <p:bldP spid="7" grpId="0" animBg="1"/>
      <p:bldP spid="10" grpId="0" animBg="1"/>
      <p:bldP spid="11" grpId="0" animBg="1"/>
      <p:bldP spid="12" grpId="0" animBg="1"/>
      <p:bldP spid="8" grpId="0" animBg="1"/>
      <p:bldP spid="1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Untertitel 1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On behalf of the new PINTAD team</a:t>
            </a: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hank you!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65470" y="4602479"/>
            <a:ext cx="4529202" cy="953031"/>
          </a:xfrm>
        </p:spPr>
        <p:txBody>
          <a:bodyPr/>
          <a:lstStyle/>
          <a:p>
            <a:r>
              <a:rPr lang="en-US" dirty="0"/>
              <a:t>fabien.ricard@bayer.com</a:t>
            </a:r>
          </a:p>
          <a:p>
            <a:r>
              <a:rPr lang="en-US" dirty="0"/>
              <a:t>brenda.kurland@ert.com</a:t>
            </a:r>
          </a:p>
          <a:p>
            <a:r>
              <a:rPr lang="en-US" dirty="0"/>
              <a:t>jcgillis@merigoldcommunications.com</a:t>
            </a:r>
          </a:p>
        </p:txBody>
      </p:sp>
      <p:pic>
        <p:nvPicPr>
          <p:cNvPr id="10" name="Picture Placeholder 9"/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7" r="25007"/>
          <a:stretch>
            <a:fillRect/>
          </a:stretch>
        </p:blipFill>
        <p:spPr/>
      </p:pic>
      <p:sp>
        <p:nvSpPr>
          <p:cNvPr id="16" name="Fußzeilenplatzhalter 1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8557148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25.09.2018 11:11:43"/>
  <p:tag name="MIO_OBJECTNAME" val="Master Bayer AG 16:9 pre final"/>
  <p:tag name="MIO_CDID" val="cd9a71c7-8ed9-41a1-8303-1a6d1985851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1_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Präsentation2" id="{9F44F183-6967-4C37-BC3A-F846C6343AA8}" vid="{2CD6D4D1-CF9C-4B16-993C-2A26F7415D1B}"/>
    </a:ext>
  </a:extLst>
</a:theme>
</file>

<file path=ppt/theme/theme2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41D3C1A01ABC247B7F4F98DF7CAC607" ma:contentTypeVersion="12" ma:contentTypeDescription="Create a new document." ma:contentTypeScope="" ma:versionID="ffc06ff9a855d9725decd57c59b8b579">
  <xsd:schema xmlns:xsd="http://www.w3.org/2001/XMLSchema" xmlns:xs="http://www.w3.org/2001/XMLSchema" xmlns:p="http://schemas.microsoft.com/office/2006/metadata/properties" xmlns:ns3="66fca7a2-4bc7-4a68-9245-d593543b73ee" xmlns:ns4="3dddaa06-c922-4949-ac4a-0409a5011d71" targetNamespace="http://schemas.microsoft.com/office/2006/metadata/properties" ma:root="true" ma:fieldsID="a71e7e557b409a8e143abf75e8a78efe" ns3:_="" ns4:_="">
    <xsd:import namespace="66fca7a2-4bc7-4a68-9245-d593543b73ee"/>
    <xsd:import namespace="3dddaa06-c922-4949-ac4a-0409a5011d7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fca7a2-4bc7-4a68-9245-d593543b73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ddaa06-c922-4949-ac4a-0409a5011d7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9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FB2AE49-94B4-4753-B21C-84E7C0EB02C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EAB3A52-4BEF-4662-991F-352B2BD3BB9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fca7a2-4bc7-4a68-9245-d593543b73ee"/>
    <ds:schemaRef ds:uri="3dddaa06-c922-4949-ac4a-0409a5011d7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AE35102-5883-4792-9EC4-95F148E17140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_BAG_PPT-master_16-9_2018-09-25 (1)</Template>
  <TotalTime>1965</TotalTime>
  <Words>625</Words>
  <Application>Microsoft Office PowerPoint</Application>
  <PresentationFormat>Custom</PresentationFormat>
  <Paragraphs>193</Paragraphs>
  <Slides>9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2" baseType="lpstr">
      <vt:lpstr>Arial</vt:lpstr>
      <vt:lpstr>Calibri</vt:lpstr>
      <vt:lpstr>1_PR_BAG_PPT-master_16-9</vt:lpstr>
      <vt:lpstr>PINTAD</vt:lpstr>
      <vt:lpstr>New PINTAD management Team</vt:lpstr>
      <vt:lpstr>New PINTAD multidisciplinary management Team</vt:lpstr>
      <vt:lpstr>OPERATIONS</vt:lpstr>
      <vt:lpstr>SESSIONS FORMAT</vt:lpstr>
      <vt:lpstr>STRATEGIC VISION</vt:lpstr>
      <vt:lpstr>SUBGROUP STRATEGY</vt:lpstr>
      <vt:lpstr>PowerPoint Presentation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</dc:title>
  <dc:creator>Fabien Ricard</dc:creator>
  <cp:lastModifiedBy>Fabien Ricard</cp:lastModifiedBy>
  <cp:revision>9</cp:revision>
  <cp:lastPrinted>2017-10-23T10:44:12Z</cp:lastPrinted>
  <dcterms:created xsi:type="dcterms:W3CDTF">2020-04-16T11:54:49Z</dcterms:created>
  <dcterms:modified xsi:type="dcterms:W3CDTF">2020-07-31T12:55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LabelPos">
    <vt:lpwstr>836;514;810;514;854;514</vt:lpwstr>
  </property>
  <property fmtid="{D5CDD505-2E9C-101B-9397-08002B2CF9AE}" pid="3" name="MSIP_Label_2c76c141-ac86-40e5-abf2-c6f60e474cee_Enabled">
    <vt:lpwstr>True</vt:lpwstr>
  </property>
  <property fmtid="{D5CDD505-2E9C-101B-9397-08002B2CF9AE}" pid="4" name="MSIP_Label_2c76c141-ac86-40e5-abf2-c6f60e474cee_SiteId">
    <vt:lpwstr>fcb2b37b-5da0-466b-9b83-0014b67a7c78</vt:lpwstr>
  </property>
  <property fmtid="{D5CDD505-2E9C-101B-9397-08002B2CF9AE}" pid="5" name="MSIP_Label_2c76c141-ac86-40e5-abf2-c6f60e474cee_Owner">
    <vt:lpwstr>fabien.ricard@bayer.com</vt:lpwstr>
  </property>
  <property fmtid="{D5CDD505-2E9C-101B-9397-08002B2CF9AE}" pid="6" name="MSIP_Label_2c76c141-ac86-40e5-abf2-c6f60e474cee_SetDate">
    <vt:lpwstr>2020-04-16T11:58:53.4500703Z</vt:lpwstr>
  </property>
  <property fmtid="{D5CDD505-2E9C-101B-9397-08002B2CF9AE}" pid="7" name="MSIP_Label_2c76c141-ac86-40e5-abf2-c6f60e474cee_Name">
    <vt:lpwstr>RESTRICTED</vt:lpwstr>
  </property>
  <property fmtid="{D5CDD505-2E9C-101B-9397-08002B2CF9AE}" pid="8" name="MSIP_Label_2c76c141-ac86-40e5-abf2-c6f60e474cee_Application">
    <vt:lpwstr>Microsoft Azure Information Protection</vt:lpwstr>
  </property>
  <property fmtid="{D5CDD505-2E9C-101B-9397-08002B2CF9AE}" pid="9" name="MSIP_Label_2c76c141-ac86-40e5-abf2-c6f60e474cee_Extended_MSFT_Method">
    <vt:lpwstr>Automatic</vt:lpwstr>
  </property>
  <property fmtid="{D5CDD505-2E9C-101B-9397-08002B2CF9AE}" pid="10" name="Sensitivity">
    <vt:lpwstr>RESTRICTED</vt:lpwstr>
  </property>
  <property fmtid="{D5CDD505-2E9C-101B-9397-08002B2CF9AE}" pid="11" name="ContentTypeId">
    <vt:lpwstr>0x010100B41D3C1A01ABC247B7F4F98DF7CAC607</vt:lpwstr>
  </property>
</Properties>
</file>